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4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4004" r:id="rId1"/>
  </p:sldMasterIdLst>
  <p:notesMasterIdLst>
    <p:notesMasterId r:id="rId17"/>
  </p:notesMasterIdLst>
  <p:handoutMasterIdLst>
    <p:handoutMasterId r:id="rId18"/>
  </p:handoutMasterIdLst>
  <p:sldIdLst>
    <p:sldId id="1014" r:id="rId2"/>
    <p:sldId id="1076" r:id="rId3"/>
    <p:sldId id="1078" r:id="rId4"/>
    <p:sldId id="1070" r:id="rId5"/>
    <p:sldId id="1067" r:id="rId6"/>
    <p:sldId id="1080" r:id="rId7"/>
    <p:sldId id="1081" r:id="rId8"/>
    <p:sldId id="1079" r:id="rId9"/>
    <p:sldId id="1065" r:id="rId10"/>
    <p:sldId id="1082" r:id="rId11"/>
    <p:sldId id="1074" r:id="rId12"/>
    <p:sldId id="1071" r:id="rId13"/>
    <p:sldId id="1077" r:id="rId14"/>
    <p:sldId id="1066" r:id="rId15"/>
    <p:sldId id="1068" r:id="rId16"/>
  </p:sldIdLst>
  <p:sldSz cx="9601200" cy="6858000"/>
  <p:notesSz cx="6881813" cy="9296400"/>
  <p:custDataLst>
    <p:tags r:id="rId1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587">
          <p15:clr>
            <a:srgbClr val="A4A3A4"/>
          </p15:clr>
        </p15:guide>
        <p15:guide id="2" orient="horz" pos="1144">
          <p15:clr>
            <a:srgbClr val="A4A3A4"/>
          </p15:clr>
        </p15:guide>
        <p15:guide id="3" pos="29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16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CC99FF"/>
    <a:srgbClr val="008000"/>
    <a:srgbClr val="0000FF"/>
    <a:srgbClr val="FF0000"/>
    <a:srgbClr val="DFE5EF"/>
    <a:srgbClr val="C3CFE1"/>
    <a:srgbClr val="FFFF66"/>
    <a:srgbClr val="364D6E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272" autoAdjust="0"/>
    <p:restoredTop sz="84734" autoAdjust="0"/>
  </p:normalViewPr>
  <p:slideViewPr>
    <p:cSldViewPr showGuides="1">
      <p:cViewPr varScale="1">
        <p:scale>
          <a:sx n="97" d="100"/>
          <a:sy n="97" d="100"/>
        </p:scale>
        <p:origin x="1596" y="96"/>
      </p:cViewPr>
      <p:guideLst>
        <p:guide orient="horz" pos="3587"/>
        <p:guide orient="horz" pos="1144"/>
        <p:guide pos="290"/>
      </p:guideLst>
    </p:cSldViewPr>
  </p:slideViewPr>
  <p:outlineViewPr>
    <p:cViewPr>
      <p:scale>
        <a:sx n="33" d="100"/>
        <a:sy n="33" d="100"/>
      </p:scale>
      <p:origin x="0" y="1041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60" d="100"/>
        <a:sy n="160" d="100"/>
      </p:scale>
      <p:origin x="0" y="23298"/>
    </p:cViewPr>
  </p:sorterViewPr>
  <p:notesViewPr>
    <p:cSldViewPr showGuides="1">
      <p:cViewPr varScale="1">
        <p:scale>
          <a:sx n="72" d="100"/>
          <a:sy n="72" d="100"/>
        </p:scale>
        <p:origin x="-2730" y="-114"/>
      </p:cViewPr>
      <p:guideLst>
        <p:guide orient="horz" pos="2928"/>
        <p:guide pos="2168"/>
      </p:guideLst>
    </p:cSldViewPr>
  </p:notesViewPr>
  <p:gridSpacing cx="38405" cy="384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01BD5E9-2750-45D5-9E6E-FE8B3FCF5A1C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E1F6BBE-2C66-42E6-A7A1-A77A884EBFC8}">
      <dgm:prSet phldrT="[Text]"/>
      <dgm:spPr/>
      <dgm:t>
        <a:bodyPr/>
        <a:lstStyle/>
        <a:p>
          <a:r>
            <a:rPr lang="en-US" dirty="0" smtClean="0"/>
            <a:t>Review</a:t>
          </a:r>
          <a:endParaRPr lang="en-US" dirty="0"/>
        </a:p>
      </dgm:t>
    </dgm:pt>
    <dgm:pt modelId="{A917A587-23B7-4AD2-8779-A7B54B6BBE74}" type="parTrans" cxnId="{F0977DB4-1C72-4682-BF96-3C17E24AEE35}">
      <dgm:prSet/>
      <dgm:spPr/>
      <dgm:t>
        <a:bodyPr/>
        <a:lstStyle/>
        <a:p>
          <a:endParaRPr lang="en-US"/>
        </a:p>
      </dgm:t>
    </dgm:pt>
    <dgm:pt modelId="{B288EE9A-AB60-48B8-94AB-0B405FA584A5}" type="sibTrans" cxnId="{F0977DB4-1C72-4682-BF96-3C17E24AEE35}">
      <dgm:prSet/>
      <dgm:spPr/>
      <dgm:t>
        <a:bodyPr/>
        <a:lstStyle/>
        <a:p>
          <a:endParaRPr lang="en-US"/>
        </a:p>
      </dgm:t>
    </dgm:pt>
    <dgm:pt modelId="{03362B09-0D5F-473B-AB48-7E180CD34E36}">
      <dgm:prSet phldrT="[Text]"/>
      <dgm:spPr/>
      <dgm:t>
        <a:bodyPr/>
        <a:lstStyle/>
        <a:p>
          <a:r>
            <a:rPr lang="en-US" dirty="0" smtClean="0"/>
            <a:t>Resources</a:t>
          </a:r>
          <a:endParaRPr lang="en-US" dirty="0"/>
        </a:p>
      </dgm:t>
    </dgm:pt>
    <dgm:pt modelId="{A1C00379-692E-481C-9EA5-129190C90396}" type="parTrans" cxnId="{C6567025-6B3A-447B-8466-D06DC946027B}">
      <dgm:prSet/>
      <dgm:spPr/>
      <dgm:t>
        <a:bodyPr/>
        <a:lstStyle/>
        <a:p>
          <a:endParaRPr lang="en-US"/>
        </a:p>
      </dgm:t>
    </dgm:pt>
    <dgm:pt modelId="{9623B15E-4AB2-4C71-A8AC-5351CEEC3A12}" type="sibTrans" cxnId="{C6567025-6B3A-447B-8466-D06DC946027B}">
      <dgm:prSet/>
      <dgm:spPr/>
      <dgm:t>
        <a:bodyPr/>
        <a:lstStyle/>
        <a:p>
          <a:endParaRPr lang="en-US"/>
        </a:p>
      </dgm:t>
    </dgm:pt>
    <dgm:pt modelId="{6F85F120-6F4E-47D0-BD37-1688FFD91A5A}">
      <dgm:prSet phldrT="[Text]"/>
      <dgm:spPr/>
      <dgm:t>
        <a:bodyPr/>
        <a:lstStyle/>
        <a:p>
          <a:r>
            <a:rPr lang="en-US" dirty="0" smtClean="0"/>
            <a:t>Website</a:t>
          </a:r>
          <a:endParaRPr lang="en-US" dirty="0"/>
        </a:p>
      </dgm:t>
    </dgm:pt>
    <dgm:pt modelId="{9CAF4B1A-F465-4A72-A8B0-D9A7DA587C4E}" type="parTrans" cxnId="{256A3CC1-FBEA-4BE7-A3C5-0DF72820214A}">
      <dgm:prSet/>
      <dgm:spPr/>
    </dgm:pt>
    <dgm:pt modelId="{4E557FCE-2155-4910-B609-A63063BC5A0C}" type="sibTrans" cxnId="{256A3CC1-FBEA-4BE7-A3C5-0DF72820214A}">
      <dgm:prSet/>
      <dgm:spPr/>
    </dgm:pt>
    <dgm:pt modelId="{F780E79A-BBD0-4C93-9C44-8A1E509FCF91}">
      <dgm:prSet phldrT="[Text]"/>
      <dgm:spPr/>
      <dgm:t>
        <a:bodyPr/>
        <a:lstStyle/>
        <a:p>
          <a:r>
            <a:rPr lang="en-US" dirty="0" smtClean="0"/>
            <a:t>FF Calculations/SAS Reports</a:t>
          </a:r>
          <a:endParaRPr lang="en-US" dirty="0"/>
        </a:p>
      </dgm:t>
    </dgm:pt>
    <dgm:pt modelId="{1278B088-1E1A-4E10-ABC1-48954F87DB16}" type="parTrans" cxnId="{7A6EB378-6AFD-4CB9-A999-1DE9F673DB0D}">
      <dgm:prSet/>
      <dgm:spPr/>
    </dgm:pt>
    <dgm:pt modelId="{386C8E67-81BE-4018-B20E-49E241147F26}" type="sibTrans" cxnId="{7A6EB378-6AFD-4CB9-A999-1DE9F673DB0D}">
      <dgm:prSet/>
      <dgm:spPr/>
    </dgm:pt>
    <dgm:pt modelId="{2F7A4AA9-A10B-461E-B0ED-AAD003FF52F0}">
      <dgm:prSet phldrT="[Text]"/>
      <dgm:spPr/>
      <dgm:t>
        <a:bodyPr/>
        <a:lstStyle/>
        <a:p>
          <a:r>
            <a:rPr lang="en-US" dirty="0" smtClean="0"/>
            <a:t>FF Accounts</a:t>
          </a:r>
          <a:endParaRPr lang="en-US" dirty="0"/>
        </a:p>
      </dgm:t>
    </dgm:pt>
    <dgm:pt modelId="{97745C4A-0BA1-4E50-B2EE-FDB2A49B22E1}" type="parTrans" cxnId="{089F18E0-EEFB-4F39-8793-51E9E951A3C0}">
      <dgm:prSet/>
      <dgm:spPr/>
    </dgm:pt>
    <dgm:pt modelId="{177DC6FE-AE40-42EA-9D64-65984E51F641}" type="sibTrans" cxnId="{089F18E0-EEFB-4F39-8793-51E9E951A3C0}">
      <dgm:prSet/>
      <dgm:spPr/>
    </dgm:pt>
    <dgm:pt modelId="{455AEFC7-2E58-4C0F-9271-9F125477FC5C}">
      <dgm:prSet phldrT="[Text]"/>
      <dgm:spPr/>
      <dgm:t>
        <a:bodyPr/>
        <a:lstStyle/>
        <a:p>
          <a:r>
            <a:rPr lang="en-US" dirty="0" smtClean="0"/>
            <a:t>FF Qualifications</a:t>
          </a:r>
          <a:endParaRPr lang="en-US" dirty="0"/>
        </a:p>
      </dgm:t>
    </dgm:pt>
    <dgm:pt modelId="{B0C2A01E-B2A4-4C3C-AA2A-F951331743EC}" type="parTrans" cxnId="{6BC409EE-CD39-412D-907D-AAD6CA53A162}">
      <dgm:prSet/>
      <dgm:spPr/>
    </dgm:pt>
    <dgm:pt modelId="{37A0A8E0-D31C-42F3-B321-63205A106A62}" type="sibTrans" cxnId="{6BC409EE-CD39-412D-907D-AAD6CA53A162}">
      <dgm:prSet/>
      <dgm:spPr/>
    </dgm:pt>
    <dgm:pt modelId="{85AA6834-69F9-4669-A382-CE0C27892334}">
      <dgm:prSet phldrT="[Text]"/>
      <dgm:spPr/>
      <dgm:t>
        <a:bodyPr/>
        <a:lstStyle/>
        <a:p>
          <a:r>
            <a:rPr lang="en-US" dirty="0" smtClean="0"/>
            <a:t>GME</a:t>
          </a:r>
          <a:endParaRPr lang="en-US" dirty="0"/>
        </a:p>
      </dgm:t>
    </dgm:pt>
    <dgm:pt modelId="{01B9CDEB-22C4-44E3-8DB1-2F5A67F2DD34}" type="parTrans" cxnId="{92B8CE08-CF6D-408B-8F2D-CA060133E5AE}">
      <dgm:prSet/>
      <dgm:spPr/>
    </dgm:pt>
    <dgm:pt modelId="{868BB606-4341-48A8-8879-E80AE48340A7}" type="sibTrans" cxnId="{92B8CE08-CF6D-408B-8F2D-CA060133E5AE}">
      <dgm:prSet/>
      <dgm:spPr/>
    </dgm:pt>
    <dgm:pt modelId="{9D12BCCA-E6FF-4B8C-8EE2-8FC37262463F}">
      <dgm:prSet phldrT="[Text]"/>
      <dgm:spPr/>
      <dgm:t>
        <a:bodyPr/>
        <a:lstStyle/>
        <a:p>
          <a:r>
            <a:rPr lang="en-US" dirty="0" smtClean="0"/>
            <a:t>FF Educations</a:t>
          </a:r>
          <a:endParaRPr lang="en-US" dirty="0"/>
        </a:p>
      </dgm:t>
    </dgm:pt>
    <dgm:pt modelId="{8371F764-286F-40E6-BFAF-69B42C2D3F5A}" type="parTrans" cxnId="{C4D48CEF-4BD0-4114-BF5A-323A6A1AE970}">
      <dgm:prSet/>
      <dgm:spPr/>
    </dgm:pt>
    <dgm:pt modelId="{EB284710-9FE2-4BA3-B92B-438CF4C80AD4}" type="sibTrans" cxnId="{C4D48CEF-4BD0-4114-BF5A-323A6A1AE970}">
      <dgm:prSet/>
      <dgm:spPr/>
    </dgm:pt>
    <dgm:pt modelId="{05CF9689-7A95-46CD-807D-602524164D54}" type="pres">
      <dgm:prSet presAssocID="{801BD5E9-2750-45D5-9E6E-FE8B3FCF5A1C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FBF582C-D5EC-41AE-8CD6-F108205480D9}" type="pres">
      <dgm:prSet presAssocID="{3E1F6BBE-2C66-42E6-A7A1-A77A884EBFC8}" presName="parentLin" presStyleCnt="0"/>
      <dgm:spPr/>
    </dgm:pt>
    <dgm:pt modelId="{CA8B5459-B8C6-4379-AB7D-2CF144C8DA31}" type="pres">
      <dgm:prSet presAssocID="{3E1F6BBE-2C66-42E6-A7A1-A77A884EBFC8}" presName="parentLeftMargin" presStyleLbl="node1" presStyleIdx="0" presStyleCnt="2"/>
      <dgm:spPr/>
      <dgm:t>
        <a:bodyPr/>
        <a:lstStyle/>
        <a:p>
          <a:endParaRPr lang="en-US"/>
        </a:p>
      </dgm:t>
    </dgm:pt>
    <dgm:pt modelId="{1696E541-0412-4838-9E27-849844A2A281}" type="pres">
      <dgm:prSet presAssocID="{3E1F6BBE-2C66-42E6-A7A1-A77A884EBFC8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B9E390E-5B38-494C-90A6-3446030B8CD4}" type="pres">
      <dgm:prSet presAssocID="{3E1F6BBE-2C66-42E6-A7A1-A77A884EBFC8}" presName="negativeSpace" presStyleCnt="0"/>
      <dgm:spPr/>
    </dgm:pt>
    <dgm:pt modelId="{9A4010D7-66DD-4B34-BC02-0FCE06E00D3C}" type="pres">
      <dgm:prSet presAssocID="{3E1F6BBE-2C66-42E6-A7A1-A77A884EBFC8}" presName="childText" presStyleLbl="conFgAcc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AC88140-98B2-4CD8-9E95-C6DACB1D043E}" type="pres">
      <dgm:prSet presAssocID="{B288EE9A-AB60-48B8-94AB-0B405FA584A5}" presName="spaceBetweenRectangles" presStyleCnt="0"/>
      <dgm:spPr/>
    </dgm:pt>
    <dgm:pt modelId="{9A4BE2E0-40AC-4F9E-8557-4D67A664BF35}" type="pres">
      <dgm:prSet presAssocID="{03362B09-0D5F-473B-AB48-7E180CD34E36}" presName="parentLin" presStyleCnt="0"/>
      <dgm:spPr/>
    </dgm:pt>
    <dgm:pt modelId="{882A50C6-4444-4615-BD58-44F850ECEFBB}" type="pres">
      <dgm:prSet presAssocID="{03362B09-0D5F-473B-AB48-7E180CD34E36}" presName="parentLeftMargin" presStyleLbl="node1" presStyleIdx="0" presStyleCnt="2"/>
      <dgm:spPr/>
      <dgm:t>
        <a:bodyPr/>
        <a:lstStyle/>
        <a:p>
          <a:endParaRPr lang="en-US"/>
        </a:p>
      </dgm:t>
    </dgm:pt>
    <dgm:pt modelId="{A3DB0AFD-B9D9-431A-903C-ACDA2609E500}" type="pres">
      <dgm:prSet presAssocID="{03362B09-0D5F-473B-AB48-7E180CD34E36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8A3A5F3-CC29-4AAB-A617-64A5927BA7D4}" type="pres">
      <dgm:prSet presAssocID="{03362B09-0D5F-473B-AB48-7E180CD34E36}" presName="negativeSpace" presStyleCnt="0"/>
      <dgm:spPr/>
    </dgm:pt>
    <dgm:pt modelId="{617F476A-8CAD-4E74-887A-2B3C05EB5115}" type="pres">
      <dgm:prSet presAssocID="{03362B09-0D5F-473B-AB48-7E180CD34E36}" presName="childText" presStyleLbl="conFgAcc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A6EB378-6AFD-4CB9-A999-1DE9F673DB0D}" srcId="{3E1F6BBE-2C66-42E6-A7A1-A77A884EBFC8}" destId="{F780E79A-BBD0-4C93-9C44-8A1E509FCF91}" srcOrd="2" destOrd="0" parTransId="{1278B088-1E1A-4E10-ABC1-48954F87DB16}" sibTransId="{386C8E67-81BE-4018-B20E-49E241147F26}"/>
    <dgm:cxn modelId="{EFBBF644-C54D-475B-B7DF-D05BE0F13368}" type="presOf" srcId="{3E1F6BBE-2C66-42E6-A7A1-A77A884EBFC8}" destId="{1696E541-0412-4838-9E27-849844A2A281}" srcOrd="1" destOrd="0" presId="urn:microsoft.com/office/officeart/2005/8/layout/list1"/>
    <dgm:cxn modelId="{17AAE8BE-43AD-4FAA-A9B3-8D295E543AAD}" type="presOf" srcId="{455AEFC7-2E58-4C0F-9271-9F125477FC5C}" destId="{9A4010D7-66DD-4B34-BC02-0FCE06E00D3C}" srcOrd="0" destOrd="1" presId="urn:microsoft.com/office/officeart/2005/8/layout/list1"/>
    <dgm:cxn modelId="{EAAA67F8-A78C-44AC-B85C-6C2B05FF2650}" type="presOf" srcId="{03362B09-0D5F-473B-AB48-7E180CD34E36}" destId="{882A50C6-4444-4615-BD58-44F850ECEFBB}" srcOrd="0" destOrd="0" presId="urn:microsoft.com/office/officeart/2005/8/layout/list1"/>
    <dgm:cxn modelId="{C4D48CEF-4BD0-4114-BF5A-323A6A1AE970}" srcId="{03362B09-0D5F-473B-AB48-7E180CD34E36}" destId="{9D12BCCA-E6FF-4B8C-8EE2-8FC37262463F}" srcOrd="0" destOrd="0" parTransId="{8371F764-286F-40E6-BFAF-69B42C2D3F5A}" sibTransId="{EB284710-9FE2-4BA3-B92B-438CF4C80AD4}"/>
    <dgm:cxn modelId="{68AD4F0B-AF97-4F48-A085-EB51824F7F59}" type="presOf" srcId="{03362B09-0D5F-473B-AB48-7E180CD34E36}" destId="{A3DB0AFD-B9D9-431A-903C-ACDA2609E500}" srcOrd="1" destOrd="0" presId="urn:microsoft.com/office/officeart/2005/8/layout/list1"/>
    <dgm:cxn modelId="{089F18E0-EEFB-4F39-8793-51E9E951A3C0}" srcId="{3E1F6BBE-2C66-42E6-A7A1-A77A884EBFC8}" destId="{2F7A4AA9-A10B-461E-B0ED-AAD003FF52F0}" srcOrd="0" destOrd="0" parTransId="{97745C4A-0BA1-4E50-B2EE-FDB2A49B22E1}" sibTransId="{177DC6FE-AE40-42EA-9D64-65984E51F641}"/>
    <dgm:cxn modelId="{6BC409EE-CD39-412D-907D-AAD6CA53A162}" srcId="{3E1F6BBE-2C66-42E6-A7A1-A77A884EBFC8}" destId="{455AEFC7-2E58-4C0F-9271-9F125477FC5C}" srcOrd="1" destOrd="0" parTransId="{B0C2A01E-B2A4-4C3C-AA2A-F951331743EC}" sibTransId="{37A0A8E0-D31C-42F3-B321-63205A106A62}"/>
    <dgm:cxn modelId="{F59D8014-8927-4CAC-8442-7B9A80DCA5C2}" type="presOf" srcId="{85AA6834-69F9-4669-A382-CE0C27892334}" destId="{9A4010D7-66DD-4B34-BC02-0FCE06E00D3C}" srcOrd="0" destOrd="3" presId="urn:microsoft.com/office/officeart/2005/8/layout/list1"/>
    <dgm:cxn modelId="{92B8CE08-CF6D-408B-8F2D-CA060133E5AE}" srcId="{3E1F6BBE-2C66-42E6-A7A1-A77A884EBFC8}" destId="{85AA6834-69F9-4669-A382-CE0C27892334}" srcOrd="3" destOrd="0" parTransId="{01B9CDEB-22C4-44E3-8DB1-2F5A67F2DD34}" sibTransId="{868BB606-4341-48A8-8879-E80AE48340A7}"/>
    <dgm:cxn modelId="{256A3CC1-FBEA-4BE7-A3C5-0DF72820214A}" srcId="{03362B09-0D5F-473B-AB48-7E180CD34E36}" destId="{6F85F120-6F4E-47D0-BD37-1688FFD91A5A}" srcOrd="1" destOrd="0" parTransId="{9CAF4B1A-F465-4A72-A8B0-D9A7DA587C4E}" sibTransId="{4E557FCE-2155-4910-B609-A63063BC5A0C}"/>
    <dgm:cxn modelId="{2A5C6C55-5ECE-49A0-84C4-13A16FAACD5C}" type="presOf" srcId="{9D12BCCA-E6FF-4B8C-8EE2-8FC37262463F}" destId="{617F476A-8CAD-4E74-887A-2B3C05EB5115}" srcOrd="0" destOrd="0" presId="urn:microsoft.com/office/officeart/2005/8/layout/list1"/>
    <dgm:cxn modelId="{F0977DB4-1C72-4682-BF96-3C17E24AEE35}" srcId="{801BD5E9-2750-45D5-9E6E-FE8B3FCF5A1C}" destId="{3E1F6BBE-2C66-42E6-A7A1-A77A884EBFC8}" srcOrd="0" destOrd="0" parTransId="{A917A587-23B7-4AD2-8779-A7B54B6BBE74}" sibTransId="{B288EE9A-AB60-48B8-94AB-0B405FA584A5}"/>
    <dgm:cxn modelId="{C6567025-6B3A-447B-8466-D06DC946027B}" srcId="{801BD5E9-2750-45D5-9E6E-FE8B3FCF5A1C}" destId="{03362B09-0D5F-473B-AB48-7E180CD34E36}" srcOrd="1" destOrd="0" parTransId="{A1C00379-692E-481C-9EA5-129190C90396}" sibTransId="{9623B15E-4AB2-4C71-A8AC-5351CEEC3A12}"/>
    <dgm:cxn modelId="{705F9CDB-1001-4FC0-B032-BFA870769134}" type="presOf" srcId="{3E1F6BBE-2C66-42E6-A7A1-A77A884EBFC8}" destId="{CA8B5459-B8C6-4379-AB7D-2CF144C8DA31}" srcOrd="0" destOrd="0" presId="urn:microsoft.com/office/officeart/2005/8/layout/list1"/>
    <dgm:cxn modelId="{9D8FA91C-55E3-45E9-869B-53FEE1CA4F73}" type="presOf" srcId="{6F85F120-6F4E-47D0-BD37-1688FFD91A5A}" destId="{617F476A-8CAD-4E74-887A-2B3C05EB5115}" srcOrd="0" destOrd="1" presId="urn:microsoft.com/office/officeart/2005/8/layout/list1"/>
    <dgm:cxn modelId="{9324D171-8DFD-4453-96B5-C14A8729D7C4}" type="presOf" srcId="{2F7A4AA9-A10B-461E-B0ED-AAD003FF52F0}" destId="{9A4010D7-66DD-4B34-BC02-0FCE06E00D3C}" srcOrd="0" destOrd="0" presId="urn:microsoft.com/office/officeart/2005/8/layout/list1"/>
    <dgm:cxn modelId="{9ED6A0D1-DB36-47A1-A17B-8A6D740A6DD6}" type="presOf" srcId="{801BD5E9-2750-45D5-9E6E-FE8B3FCF5A1C}" destId="{05CF9689-7A95-46CD-807D-602524164D54}" srcOrd="0" destOrd="0" presId="urn:microsoft.com/office/officeart/2005/8/layout/list1"/>
    <dgm:cxn modelId="{C5EF823D-78C5-43CE-B3EB-AE00CEC38C47}" type="presOf" srcId="{F780E79A-BBD0-4C93-9C44-8A1E509FCF91}" destId="{9A4010D7-66DD-4B34-BC02-0FCE06E00D3C}" srcOrd="0" destOrd="2" presId="urn:microsoft.com/office/officeart/2005/8/layout/list1"/>
    <dgm:cxn modelId="{5E609CA1-7DC5-4C4F-A083-E98AF5F22452}" type="presParOf" srcId="{05CF9689-7A95-46CD-807D-602524164D54}" destId="{5FBF582C-D5EC-41AE-8CD6-F108205480D9}" srcOrd="0" destOrd="0" presId="urn:microsoft.com/office/officeart/2005/8/layout/list1"/>
    <dgm:cxn modelId="{506822F9-A7DB-4B91-A35D-E09089178297}" type="presParOf" srcId="{5FBF582C-D5EC-41AE-8CD6-F108205480D9}" destId="{CA8B5459-B8C6-4379-AB7D-2CF144C8DA31}" srcOrd="0" destOrd="0" presId="urn:microsoft.com/office/officeart/2005/8/layout/list1"/>
    <dgm:cxn modelId="{9F8B4D2C-C750-44AD-B876-3630E12273E8}" type="presParOf" srcId="{5FBF582C-D5EC-41AE-8CD6-F108205480D9}" destId="{1696E541-0412-4838-9E27-849844A2A281}" srcOrd="1" destOrd="0" presId="urn:microsoft.com/office/officeart/2005/8/layout/list1"/>
    <dgm:cxn modelId="{77A1BBB3-BB3C-4E96-A8AF-26DB37084128}" type="presParOf" srcId="{05CF9689-7A95-46CD-807D-602524164D54}" destId="{9B9E390E-5B38-494C-90A6-3446030B8CD4}" srcOrd="1" destOrd="0" presId="urn:microsoft.com/office/officeart/2005/8/layout/list1"/>
    <dgm:cxn modelId="{7B65FD33-1696-4266-9EDF-1D06C0EA467F}" type="presParOf" srcId="{05CF9689-7A95-46CD-807D-602524164D54}" destId="{9A4010D7-66DD-4B34-BC02-0FCE06E00D3C}" srcOrd="2" destOrd="0" presId="urn:microsoft.com/office/officeart/2005/8/layout/list1"/>
    <dgm:cxn modelId="{D655D272-2F30-4AD0-B6F7-854085157DE6}" type="presParOf" srcId="{05CF9689-7A95-46CD-807D-602524164D54}" destId="{BAC88140-98B2-4CD8-9E95-C6DACB1D043E}" srcOrd="3" destOrd="0" presId="urn:microsoft.com/office/officeart/2005/8/layout/list1"/>
    <dgm:cxn modelId="{8105E833-7D87-4981-BB10-3C5D3A2DAD0E}" type="presParOf" srcId="{05CF9689-7A95-46CD-807D-602524164D54}" destId="{9A4BE2E0-40AC-4F9E-8557-4D67A664BF35}" srcOrd="4" destOrd="0" presId="urn:microsoft.com/office/officeart/2005/8/layout/list1"/>
    <dgm:cxn modelId="{65D39401-8789-4EED-8BA9-F8FF97158DCC}" type="presParOf" srcId="{9A4BE2E0-40AC-4F9E-8557-4D67A664BF35}" destId="{882A50C6-4444-4615-BD58-44F850ECEFBB}" srcOrd="0" destOrd="0" presId="urn:microsoft.com/office/officeart/2005/8/layout/list1"/>
    <dgm:cxn modelId="{2F59FA4B-61A6-4497-8208-8941F6B13538}" type="presParOf" srcId="{9A4BE2E0-40AC-4F9E-8557-4D67A664BF35}" destId="{A3DB0AFD-B9D9-431A-903C-ACDA2609E500}" srcOrd="1" destOrd="0" presId="urn:microsoft.com/office/officeart/2005/8/layout/list1"/>
    <dgm:cxn modelId="{EFD15AEE-B3D1-4BC3-A46A-8F9CDCAA98AE}" type="presParOf" srcId="{05CF9689-7A95-46CD-807D-602524164D54}" destId="{A8A3A5F3-CC29-4AAB-A617-64A5927BA7D4}" srcOrd="5" destOrd="0" presId="urn:microsoft.com/office/officeart/2005/8/layout/list1"/>
    <dgm:cxn modelId="{BFDC49D8-41C4-4B3D-8930-B3DF948C0EAA}" type="presParOf" srcId="{05CF9689-7A95-46CD-807D-602524164D54}" destId="{617F476A-8CAD-4E74-887A-2B3C05EB5115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64FB30D-0D66-4E48-9C11-8388D3D444B3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763FFE2-4C28-4339-BEEF-53B5A3A46615}">
      <dgm:prSet phldrT="[Text]"/>
      <dgm:spPr/>
      <dgm:t>
        <a:bodyPr/>
        <a:lstStyle/>
        <a:p>
          <a:r>
            <a:rPr lang="en-US" dirty="0" smtClean="0"/>
            <a:t>442710</a:t>
          </a:r>
          <a:endParaRPr lang="en-US" dirty="0"/>
        </a:p>
      </dgm:t>
    </dgm:pt>
    <dgm:pt modelId="{8B7786DC-2804-4E7E-AFE9-A14206777D76}" type="parTrans" cxnId="{41700E91-B1CB-4ED6-93F1-CA9A72B20299}">
      <dgm:prSet/>
      <dgm:spPr/>
      <dgm:t>
        <a:bodyPr/>
        <a:lstStyle/>
        <a:p>
          <a:endParaRPr lang="en-US"/>
        </a:p>
      </dgm:t>
    </dgm:pt>
    <dgm:pt modelId="{4C7D96A4-B319-4A03-9A12-43A5856E6BA6}" type="sibTrans" cxnId="{41700E91-B1CB-4ED6-93F1-CA9A72B20299}">
      <dgm:prSet/>
      <dgm:spPr/>
      <dgm:t>
        <a:bodyPr/>
        <a:lstStyle/>
        <a:p>
          <a:endParaRPr lang="en-US"/>
        </a:p>
      </dgm:t>
    </dgm:pt>
    <dgm:pt modelId="{70BD8DE3-0901-48C0-9FA2-AAEF033D8785}">
      <dgm:prSet/>
      <dgm:spPr/>
      <dgm:t>
        <a:bodyPr/>
        <a:lstStyle/>
        <a:p>
          <a:r>
            <a:rPr lang="en-US" dirty="0" smtClean="0"/>
            <a:t>442730</a:t>
          </a:r>
          <a:endParaRPr lang="en-US" dirty="0"/>
        </a:p>
      </dgm:t>
    </dgm:pt>
    <dgm:pt modelId="{2B0649F5-2786-4ED2-BA52-3F8AFF3C9ECE}" type="parTrans" cxnId="{5FEC2913-C251-45E3-9663-EF4CA4033750}">
      <dgm:prSet/>
      <dgm:spPr/>
      <dgm:t>
        <a:bodyPr/>
        <a:lstStyle/>
        <a:p>
          <a:endParaRPr lang="en-US"/>
        </a:p>
      </dgm:t>
    </dgm:pt>
    <dgm:pt modelId="{76E3FBB9-662F-453F-B601-D552C6F9BFDB}" type="sibTrans" cxnId="{5FEC2913-C251-45E3-9663-EF4CA4033750}">
      <dgm:prSet/>
      <dgm:spPr/>
      <dgm:t>
        <a:bodyPr/>
        <a:lstStyle/>
        <a:p>
          <a:endParaRPr lang="en-US"/>
        </a:p>
      </dgm:t>
    </dgm:pt>
    <dgm:pt modelId="{2BFE20C8-7BA0-4BC2-8DCC-94F2EEEB19E8}">
      <dgm:prSet/>
      <dgm:spPr/>
      <dgm:t>
        <a:bodyPr/>
        <a:lstStyle/>
        <a:p>
          <a:r>
            <a:rPr lang="en-US" dirty="0" smtClean="0"/>
            <a:t>442740</a:t>
          </a:r>
          <a:endParaRPr lang="en-US" dirty="0"/>
        </a:p>
      </dgm:t>
    </dgm:pt>
    <dgm:pt modelId="{499E48E8-AF24-4631-980D-1B705AB04054}" type="parTrans" cxnId="{C219A209-4562-4440-8EDB-374FAFED1997}">
      <dgm:prSet/>
      <dgm:spPr/>
      <dgm:t>
        <a:bodyPr/>
        <a:lstStyle/>
        <a:p>
          <a:endParaRPr lang="en-US"/>
        </a:p>
      </dgm:t>
    </dgm:pt>
    <dgm:pt modelId="{5B49BD90-7E1A-4B46-ABAF-0A1968E9875F}" type="sibTrans" cxnId="{C219A209-4562-4440-8EDB-374FAFED1997}">
      <dgm:prSet/>
      <dgm:spPr/>
      <dgm:t>
        <a:bodyPr/>
        <a:lstStyle/>
        <a:p>
          <a:endParaRPr lang="en-US"/>
        </a:p>
      </dgm:t>
    </dgm:pt>
    <dgm:pt modelId="{63A0684D-AEA1-44C3-BE12-628BCE4E9CEF}">
      <dgm:prSet phldrT="[Text]"/>
      <dgm:spPr/>
      <dgm:t>
        <a:bodyPr/>
        <a:lstStyle/>
        <a:p>
          <a:r>
            <a:rPr lang="en-US" dirty="0" smtClean="0"/>
            <a:t>442720</a:t>
          </a:r>
          <a:endParaRPr lang="en-US" dirty="0"/>
        </a:p>
      </dgm:t>
    </dgm:pt>
    <dgm:pt modelId="{D0DC642E-F51F-4E37-86CB-81E5F2D2110E}" type="parTrans" cxnId="{63D62578-6186-4BA8-99DE-0370015C0925}">
      <dgm:prSet/>
      <dgm:spPr/>
      <dgm:t>
        <a:bodyPr/>
        <a:lstStyle/>
        <a:p>
          <a:endParaRPr lang="en-US"/>
        </a:p>
      </dgm:t>
    </dgm:pt>
    <dgm:pt modelId="{B4F31434-94FC-4C0A-B317-C2F1EB1ED29F}" type="sibTrans" cxnId="{63D62578-6186-4BA8-99DE-0370015C0925}">
      <dgm:prSet/>
      <dgm:spPr/>
      <dgm:t>
        <a:bodyPr/>
        <a:lstStyle/>
        <a:p>
          <a:endParaRPr lang="en-US"/>
        </a:p>
      </dgm:t>
    </dgm:pt>
    <dgm:pt modelId="{BAAFA6A3-541F-4C41-A714-485BE1CA3F62}">
      <dgm:prSet phldrT="[Text]"/>
      <dgm:spPr/>
      <dgm:t>
        <a:bodyPr/>
        <a:lstStyle/>
        <a:p>
          <a:r>
            <a:rPr lang="en-US" dirty="0" smtClean="0"/>
            <a:t>MD Allocation - </a:t>
          </a:r>
          <a:r>
            <a:rPr lang="en-US" dirty="0" err="1" smtClean="0"/>
            <a:t>wRVU</a:t>
          </a:r>
          <a:r>
            <a:rPr lang="en-US" dirty="0" smtClean="0"/>
            <a:t>/ASA Productivity Reimbursement</a:t>
          </a:r>
          <a:endParaRPr lang="en-US" dirty="0"/>
        </a:p>
      </dgm:t>
    </dgm:pt>
    <dgm:pt modelId="{90A88602-B43A-41EE-BCD2-00206D2765A6}" type="parTrans" cxnId="{EE5E2BB1-E9E1-4AB7-9EF7-809EE6D96DC7}">
      <dgm:prSet/>
      <dgm:spPr/>
      <dgm:t>
        <a:bodyPr/>
        <a:lstStyle/>
        <a:p>
          <a:endParaRPr lang="en-US"/>
        </a:p>
      </dgm:t>
    </dgm:pt>
    <dgm:pt modelId="{F0C46AED-D09A-4AE5-A839-2471A084D0F7}" type="sibTrans" cxnId="{EE5E2BB1-E9E1-4AB7-9EF7-809EE6D96DC7}">
      <dgm:prSet/>
      <dgm:spPr/>
      <dgm:t>
        <a:bodyPr/>
        <a:lstStyle/>
        <a:p>
          <a:endParaRPr lang="en-US"/>
        </a:p>
      </dgm:t>
    </dgm:pt>
    <dgm:pt modelId="{DB923514-8FC0-4D69-B872-E97474CD01D5}">
      <dgm:prSet phldrT="[Text]"/>
      <dgm:spPr/>
      <dgm:t>
        <a:bodyPr/>
        <a:lstStyle/>
        <a:p>
          <a:r>
            <a:rPr lang="en-US" dirty="0" smtClean="0"/>
            <a:t>Non MD Allocation - UPL and Net Receipts</a:t>
          </a:r>
          <a:endParaRPr lang="en-US" dirty="0"/>
        </a:p>
      </dgm:t>
    </dgm:pt>
    <dgm:pt modelId="{93C9285C-8919-40D9-8E58-C329DCCE54FA}" type="parTrans" cxnId="{C2D52C7C-F38C-42B2-A9DB-FC73AF78420C}">
      <dgm:prSet/>
      <dgm:spPr/>
      <dgm:t>
        <a:bodyPr/>
        <a:lstStyle/>
        <a:p>
          <a:endParaRPr lang="en-US"/>
        </a:p>
      </dgm:t>
    </dgm:pt>
    <dgm:pt modelId="{43626D54-19EC-48BC-A652-A5A538B95E6F}" type="sibTrans" cxnId="{C2D52C7C-F38C-42B2-A9DB-FC73AF78420C}">
      <dgm:prSet/>
      <dgm:spPr/>
      <dgm:t>
        <a:bodyPr/>
        <a:lstStyle/>
        <a:p>
          <a:endParaRPr lang="en-US"/>
        </a:p>
      </dgm:t>
    </dgm:pt>
    <dgm:pt modelId="{E72B3AA5-EC87-4B1A-8276-428C540225F1}">
      <dgm:prSet/>
      <dgm:spPr/>
      <dgm:t>
        <a:bodyPr/>
        <a:lstStyle/>
        <a:p>
          <a:r>
            <a:rPr lang="en-US" dirty="0" smtClean="0"/>
            <a:t>Benefits</a:t>
          </a:r>
          <a:endParaRPr lang="en-US" dirty="0"/>
        </a:p>
      </dgm:t>
    </dgm:pt>
    <dgm:pt modelId="{874F96CF-B237-428C-A894-9BB06F9DEF06}" type="parTrans" cxnId="{623DE555-7171-4919-AAFA-DAF7D1BF8A1E}">
      <dgm:prSet/>
      <dgm:spPr/>
      <dgm:t>
        <a:bodyPr/>
        <a:lstStyle/>
        <a:p>
          <a:endParaRPr lang="en-US"/>
        </a:p>
      </dgm:t>
    </dgm:pt>
    <dgm:pt modelId="{45A11455-EE61-4E8A-8D4E-A3EDF18008DC}" type="sibTrans" cxnId="{623DE555-7171-4919-AAFA-DAF7D1BF8A1E}">
      <dgm:prSet/>
      <dgm:spPr/>
      <dgm:t>
        <a:bodyPr/>
        <a:lstStyle/>
        <a:p>
          <a:endParaRPr lang="en-US"/>
        </a:p>
      </dgm:t>
    </dgm:pt>
    <dgm:pt modelId="{8F2771E7-020B-4819-8248-23B8297CAB53}">
      <dgm:prSet/>
      <dgm:spPr/>
      <dgm:t>
        <a:bodyPr/>
        <a:lstStyle/>
        <a:p>
          <a:r>
            <a:rPr lang="en-US" dirty="0" smtClean="0"/>
            <a:t>Overhead</a:t>
          </a:r>
          <a:endParaRPr lang="en-US" dirty="0"/>
        </a:p>
      </dgm:t>
    </dgm:pt>
    <dgm:pt modelId="{4DEE103E-AD9F-4F4B-9E49-2CF0504E35D1}" type="parTrans" cxnId="{6611F82B-78D8-4CB5-BAA2-3DD388194532}">
      <dgm:prSet/>
      <dgm:spPr/>
      <dgm:t>
        <a:bodyPr/>
        <a:lstStyle/>
        <a:p>
          <a:endParaRPr lang="en-US"/>
        </a:p>
      </dgm:t>
    </dgm:pt>
    <dgm:pt modelId="{39950AED-7A21-4B04-95B3-FE4BEE541EDE}" type="sibTrans" cxnId="{6611F82B-78D8-4CB5-BAA2-3DD388194532}">
      <dgm:prSet/>
      <dgm:spPr/>
      <dgm:t>
        <a:bodyPr/>
        <a:lstStyle/>
        <a:p>
          <a:endParaRPr lang="en-US"/>
        </a:p>
      </dgm:t>
    </dgm:pt>
    <dgm:pt modelId="{7CEA83A9-552F-419D-A7F7-68916941B317}" type="pres">
      <dgm:prSet presAssocID="{F64FB30D-0D66-4E48-9C11-8388D3D444B3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506A235-B139-4786-8383-F6C02CE8D1FE}" type="pres">
      <dgm:prSet presAssocID="{B763FFE2-4C28-4339-BEEF-53B5A3A46615}" presName="parentLin" presStyleCnt="0"/>
      <dgm:spPr/>
    </dgm:pt>
    <dgm:pt modelId="{90551865-23FC-40B3-B6D6-03463652C757}" type="pres">
      <dgm:prSet presAssocID="{B763FFE2-4C28-4339-BEEF-53B5A3A46615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8E054E5B-A0DE-4585-92CC-B0DDDE5FDFA3}" type="pres">
      <dgm:prSet presAssocID="{B763FFE2-4C28-4339-BEEF-53B5A3A46615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0C0ECCC-1D7B-4D71-926E-CE52C9ED0234}" type="pres">
      <dgm:prSet presAssocID="{B763FFE2-4C28-4339-BEEF-53B5A3A46615}" presName="negativeSpace" presStyleCnt="0"/>
      <dgm:spPr/>
    </dgm:pt>
    <dgm:pt modelId="{56C8CB7F-2487-494D-B3A0-5D77A4A47CD6}" type="pres">
      <dgm:prSet presAssocID="{B763FFE2-4C28-4339-BEEF-53B5A3A46615}" presName="childText" presStyleLbl="conFgAcc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7B345B2-A610-493A-A24B-4C3659B2B7F5}" type="pres">
      <dgm:prSet presAssocID="{4C7D96A4-B319-4A03-9A12-43A5856E6BA6}" presName="spaceBetweenRectangles" presStyleCnt="0"/>
      <dgm:spPr/>
    </dgm:pt>
    <dgm:pt modelId="{CF0B2D69-FD6C-43A7-A667-D42EE19B6A1E}" type="pres">
      <dgm:prSet presAssocID="{63A0684D-AEA1-44C3-BE12-628BCE4E9CEF}" presName="parentLin" presStyleCnt="0"/>
      <dgm:spPr/>
    </dgm:pt>
    <dgm:pt modelId="{15B1920F-0BE2-40AE-9C40-62BD6BA11E6E}" type="pres">
      <dgm:prSet presAssocID="{63A0684D-AEA1-44C3-BE12-628BCE4E9CEF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F35C931C-9D7B-41F2-A6F2-AE70A2591888}" type="pres">
      <dgm:prSet presAssocID="{63A0684D-AEA1-44C3-BE12-628BCE4E9CEF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8586301-1A9A-4001-9E34-23DDB3719E7A}" type="pres">
      <dgm:prSet presAssocID="{63A0684D-AEA1-44C3-BE12-628BCE4E9CEF}" presName="negativeSpace" presStyleCnt="0"/>
      <dgm:spPr/>
    </dgm:pt>
    <dgm:pt modelId="{C65156F9-BB8A-44F0-96A2-AC3521F5576F}" type="pres">
      <dgm:prSet presAssocID="{63A0684D-AEA1-44C3-BE12-628BCE4E9CEF}" presName="childText" presStyleLbl="conFgAcc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E03F6F0-2746-47FE-B5DF-F85595B8D186}" type="pres">
      <dgm:prSet presAssocID="{B4F31434-94FC-4C0A-B317-C2F1EB1ED29F}" presName="spaceBetweenRectangles" presStyleCnt="0"/>
      <dgm:spPr/>
    </dgm:pt>
    <dgm:pt modelId="{CE227855-DDC2-49F9-A815-3D3FF7932682}" type="pres">
      <dgm:prSet presAssocID="{70BD8DE3-0901-48C0-9FA2-AAEF033D8785}" presName="parentLin" presStyleCnt="0"/>
      <dgm:spPr/>
    </dgm:pt>
    <dgm:pt modelId="{3595D7FD-FAC1-4165-878A-812799ED1CEC}" type="pres">
      <dgm:prSet presAssocID="{70BD8DE3-0901-48C0-9FA2-AAEF033D8785}" presName="parentLeftMargin" presStyleLbl="node1" presStyleIdx="1" presStyleCnt="4"/>
      <dgm:spPr/>
      <dgm:t>
        <a:bodyPr/>
        <a:lstStyle/>
        <a:p>
          <a:endParaRPr lang="en-US"/>
        </a:p>
      </dgm:t>
    </dgm:pt>
    <dgm:pt modelId="{2BCB0D37-A1DF-4E97-B747-7A7BC8339F67}" type="pres">
      <dgm:prSet presAssocID="{70BD8DE3-0901-48C0-9FA2-AAEF033D8785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E066A5A-D344-491E-81AA-D71ECC593005}" type="pres">
      <dgm:prSet presAssocID="{70BD8DE3-0901-48C0-9FA2-AAEF033D8785}" presName="negativeSpace" presStyleCnt="0"/>
      <dgm:spPr/>
    </dgm:pt>
    <dgm:pt modelId="{3244E74C-EA22-4D2B-AED2-13642DB6F71A}" type="pres">
      <dgm:prSet presAssocID="{70BD8DE3-0901-48C0-9FA2-AAEF033D8785}" presName="childText" presStyleLbl="conFgAcc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42AA625-B6D7-4978-A1B2-54B9EC19C69B}" type="pres">
      <dgm:prSet presAssocID="{76E3FBB9-662F-453F-B601-D552C6F9BFDB}" presName="spaceBetweenRectangles" presStyleCnt="0"/>
      <dgm:spPr/>
    </dgm:pt>
    <dgm:pt modelId="{E047844A-6EA6-446F-B154-655DAB6E2FCB}" type="pres">
      <dgm:prSet presAssocID="{2BFE20C8-7BA0-4BC2-8DCC-94F2EEEB19E8}" presName="parentLin" presStyleCnt="0"/>
      <dgm:spPr/>
    </dgm:pt>
    <dgm:pt modelId="{22826937-3BDB-482D-B563-AA0AC4105BA8}" type="pres">
      <dgm:prSet presAssocID="{2BFE20C8-7BA0-4BC2-8DCC-94F2EEEB19E8}" presName="parentLeftMargin" presStyleLbl="node1" presStyleIdx="2" presStyleCnt="4"/>
      <dgm:spPr/>
      <dgm:t>
        <a:bodyPr/>
        <a:lstStyle/>
        <a:p>
          <a:endParaRPr lang="en-US"/>
        </a:p>
      </dgm:t>
    </dgm:pt>
    <dgm:pt modelId="{6D6E8E80-3332-4D8C-A218-20547AB573D6}" type="pres">
      <dgm:prSet presAssocID="{2BFE20C8-7BA0-4BC2-8DCC-94F2EEEB19E8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AE8F7D7-7716-466F-9038-822BC27344CF}" type="pres">
      <dgm:prSet presAssocID="{2BFE20C8-7BA0-4BC2-8DCC-94F2EEEB19E8}" presName="negativeSpace" presStyleCnt="0"/>
      <dgm:spPr/>
    </dgm:pt>
    <dgm:pt modelId="{1D1219A6-1B20-45A6-B213-CBBF3E68E02D}" type="pres">
      <dgm:prSet presAssocID="{2BFE20C8-7BA0-4BC2-8DCC-94F2EEEB19E8}" presName="childText" presStyleLbl="conFgAcc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36C0936-1A31-4D50-84A6-1C58B5B0D627}" type="presOf" srcId="{B763FFE2-4C28-4339-BEEF-53B5A3A46615}" destId="{90551865-23FC-40B3-B6D6-03463652C757}" srcOrd="0" destOrd="0" presId="urn:microsoft.com/office/officeart/2005/8/layout/list1"/>
    <dgm:cxn modelId="{63D62578-6186-4BA8-99DE-0370015C0925}" srcId="{F64FB30D-0D66-4E48-9C11-8388D3D444B3}" destId="{63A0684D-AEA1-44C3-BE12-628BCE4E9CEF}" srcOrd="1" destOrd="0" parTransId="{D0DC642E-F51F-4E37-86CB-81E5F2D2110E}" sibTransId="{B4F31434-94FC-4C0A-B317-C2F1EB1ED29F}"/>
    <dgm:cxn modelId="{8FBAF39B-C518-4F26-87E0-501BCB666E72}" type="presOf" srcId="{F64FB30D-0D66-4E48-9C11-8388D3D444B3}" destId="{7CEA83A9-552F-419D-A7F7-68916941B317}" srcOrd="0" destOrd="0" presId="urn:microsoft.com/office/officeart/2005/8/layout/list1"/>
    <dgm:cxn modelId="{FC482DD2-5462-4303-B787-4BDD939A9722}" type="presOf" srcId="{2BFE20C8-7BA0-4BC2-8DCC-94F2EEEB19E8}" destId="{6D6E8E80-3332-4D8C-A218-20547AB573D6}" srcOrd="1" destOrd="0" presId="urn:microsoft.com/office/officeart/2005/8/layout/list1"/>
    <dgm:cxn modelId="{DE2E97F1-7736-4167-B8FF-966B9A50E7E2}" type="presOf" srcId="{63A0684D-AEA1-44C3-BE12-628BCE4E9CEF}" destId="{15B1920F-0BE2-40AE-9C40-62BD6BA11E6E}" srcOrd="0" destOrd="0" presId="urn:microsoft.com/office/officeart/2005/8/layout/list1"/>
    <dgm:cxn modelId="{6009E6DC-DB86-4901-931C-3D9299025199}" type="presOf" srcId="{63A0684D-AEA1-44C3-BE12-628BCE4E9CEF}" destId="{F35C931C-9D7B-41F2-A6F2-AE70A2591888}" srcOrd="1" destOrd="0" presId="urn:microsoft.com/office/officeart/2005/8/layout/list1"/>
    <dgm:cxn modelId="{7342FF99-F90A-4A33-B5B6-5545EABB1CA5}" type="presOf" srcId="{8F2771E7-020B-4819-8248-23B8297CAB53}" destId="{1D1219A6-1B20-45A6-B213-CBBF3E68E02D}" srcOrd="0" destOrd="0" presId="urn:microsoft.com/office/officeart/2005/8/layout/list1"/>
    <dgm:cxn modelId="{9B4A929A-C0DC-4EFA-ABA7-D67A6E5B4AD3}" type="presOf" srcId="{DB923514-8FC0-4D69-B872-E97474CD01D5}" destId="{C65156F9-BB8A-44F0-96A2-AC3521F5576F}" srcOrd="0" destOrd="0" presId="urn:microsoft.com/office/officeart/2005/8/layout/list1"/>
    <dgm:cxn modelId="{41700E91-B1CB-4ED6-93F1-CA9A72B20299}" srcId="{F64FB30D-0D66-4E48-9C11-8388D3D444B3}" destId="{B763FFE2-4C28-4339-BEEF-53B5A3A46615}" srcOrd="0" destOrd="0" parTransId="{8B7786DC-2804-4E7E-AFE9-A14206777D76}" sibTransId="{4C7D96A4-B319-4A03-9A12-43A5856E6BA6}"/>
    <dgm:cxn modelId="{084FEB0D-DDF9-40F0-800D-B998A1EAEEBF}" type="presOf" srcId="{E72B3AA5-EC87-4B1A-8276-428C540225F1}" destId="{3244E74C-EA22-4D2B-AED2-13642DB6F71A}" srcOrd="0" destOrd="0" presId="urn:microsoft.com/office/officeart/2005/8/layout/list1"/>
    <dgm:cxn modelId="{5E720DCF-4171-41EC-9CAC-0215CF1A2684}" type="presOf" srcId="{B763FFE2-4C28-4339-BEEF-53B5A3A46615}" destId="{8E054E5B-A0DE-4585-92CC-B0DDDE5FDFA3}" srcOrd="1" destOrd="0" presId="urn:microsoft.com/office/officeart/2005/8/layout/list1"/>
    <dgm:cxn modelId="{6B0BF4C8-DE25-420C-835B-AFEDB2D4DEFF}" type="presOf" srcId="{70BD8DE3-0901-48C0-9FA2-AAEF033D8785}" destId="{3595D7FD-FAC1-4165-878A-812799ED1CEC}" srcOrd="0" destOrd="0" presId="urn:microsoft.com/office/officeart/2005/8/layout/list1"/>
    <dgm:cxn modelId="{623DE555-7171-4919-AAFA-DAF7D1BF8A1E}" srcId="{70BD8DE3-0901-48C0-9FA2-AAEF033D8785}" destId="{E72B3AA5-EC87-4B1A-8276-428C540225F1}" srcOrd="0" destOrd="0" parTransId="{874F96CF-B237-428C-A894-9BB06F9DEF06}" sibTransId="{45A11455-EE61-4E8A-8D4E-A3EDF18008DC}"/>
    <dgm:cxn modelId="{5FEC2913-C251-45E3-9663-EF4CA4033750}" srcId="{F64FB30D-0D66-4E48-9C11-8388D3D444B3}" destId="{70BD8DE3-0901-48C0-9FA2-AAEF033D8785}" srcOrd="2" destOrd="0" parTransId="{2B0649F5-2786-4ED2-BA52-3F8AFF3C9ECE}" sibTransId="{76E3FBB9-662F-453F-B601-D552C6F9BFDB}"/>
    <dgm:cxn modelId="{C219A209-4562-4440-8EDB-374FAFED1997}" srcId="{F64FB30D-0D66-4E48-9C11-8388D3D444B3}" destId="{2BFE20C8-7BA0-4BC2-8DCC-94F2EEEB19E8}" srcOrd="3" destOrd="0" parTransId="{499E48E8-AF24-4631-980D-1B705AB04054}" sibTransId="{5B49BD90-7E1A-4B46-ABAF-0A1968E9875F}"/>
    <dgm:cxn modelId="{D193921F-428A-41FC-9506-970E450988CE}" type="presOf" srcId="{70BD8DE3-0901-48C0-9FA2-AAEF033D8785}" destId="{2BCB0D37-A1DF-4E97-B747-7A7BC8339F67}" srcOrd="1" destOrd="0" presId="urn:microsoft.com/office/officeart/2005/8/layout/list1"/>
    <dgm:cxn modelId="{6611F82B-78D8-4CB5-BAA2-3DD388194532}" srcId="{2BFE20C8-7BA0-4BC2-8DCC-94F2EEEB19E8}" destId="{8F2771E7-020B-4819-8248-23B8297CAB53}" srcOrd="0" destOrd="0" parTransId="{4DEE103E-AD9F-4F4B-9E49-2CF0504E35D1}" sibTransId="{39950AED-7A21-4B04-95B3-FE4BEE541EDE}"/>
    <dgm:cxn modelId="{95BE793B-6D04-43AA-8699-3808B06C9686}" type="presOf" srcId="{BAAFA6A3-541F-4C41-A714-485BE1CA3F62}" destId="{56C8CB7F-2487-494D-B3A0-5D77A4A47CD6}" srcOrd="0" destOrd="0" presId="urn:microsoft.com/office/officeart/2005/8/layout/list1"/>
    <dgm:cxn modelId="{C2D52C7C-F38C-42B2-A9DB-FC73AF78420C}" srcId="{63A0684D-AEA1-44C3-BE12-628BCE4E9CEF}" destId="{DB923514-8FC0-4D69-B872-E97474CD01D5}" srcOrd="0" destOrd="0" parTransId="{93C9285C-8919-40D9-8E58-C329DCCE54FA}" sibTransId="{43626D54-19EC-48BC-A652-A5A538B95E6F}"/>
    <dgm:cxn modelId="{69F891CA-7ABF-40C4-BE0E-2088FA993A95}" type="presOf" srcId="{2BFE20C8-7BA0-4BC2-8DCC-94F2EEEB19E8}" destId="{22826937-3BDB-482D-B563-AA0AC4105BA8}" srcOrd="0" destOrd="0" presId="urn:microsoft.com/office/officeart/2005/8/layout/list1"/>
    <dgm:cxn modelId="{EE5E2BB1-E9E1-4AB7-9EF7-809EE6D96DC7}" srcId="{B763FFE2-4C28-4339-BEEF-53B5A3A46615}" destId="{BAAFA6A3-541F-4C41-A714-485BE1CA3F62}" srcOrd="0" destOrd="0" parTransId="{90A88602-B43A-41EE-BCD2-00206D2765A6}" sibTransId="{F0C46AED-D09A-4AE5-A839-2471A084D0F7}"/>
    <dgm:cxn modelId="{13A51DE8-AF0B-4505-AFF5-A4A4D4E3362E}" type="presParOf" srcId="{7CEA83A9-552F-419D-A7F7-68916941B317}" destId="{A506A235-B139-4786-8383-F6C02CE8D1FE}" srcOrd="0" destOrd="0" presId="urn:microsoft.com/office/officeart/2005/8/layout/list1"/>
    <dgm:cxn modelId="{FA4C776A-7518-489B-8F4D-FB4DC7E32B0D}" type="presParOf" srcId="{A506A235-B139-4786-8383-F6C02CE8D1FE}" destId="{90551865-23FC-40B3-B6D6-03463652C757}" srcOrd="0" destOrd="0" presId="urn:microsoft.com/office/officeart/2005/8/layout/list1"/>
    <dgm:cxn modelId="{3AA7929E-E58F-4CF9-8932-08CA6785658F}" type="presParOf" srcId="{A506A235-B139-4786-8383-F6C02CE8D1FE}" destId="{8E054E5B-A0DE-4585-92CC-B0DDDE5FDFA3}" srcOrd="1" destOrd="0" presId="urn:microsoft.com/office/officeart/2005/8/layout/list1"/>
    <dgm:cxn modelId="{11F9479C-7AA4-4667-AEF8-5B6C696E8864}" type="presParOf" srcId="{7CEA83A9-552F-419D-A7F7-68916941B317}" destId="{90C0ECCC-1D7B-4D71-926E-CE52C9ED0234}" srcOrd="1" destOrd="0" presId="urn:microsoft.com/office/officeart/2005/8/layout/list1"/>
    <dgm:cxn modelId="{5B910FC5-9B8F-4FF6-9EF0-123A3C59B5F1}" type="presParOf" srcId="{7CEA83A9-552F-419D-A7F7-68916941B317}" destId="{56C8CB7F-2487-494D-B3A0-5D77A4A47CD6}" srcOrd="2" destOrd="0" presId="urn:microsoft.com/office/officeart/2005/8/layout/list1"/>
    <dgm:cxn modelId="{33099557-2525-43DE-A1D8-F0F13521D87A}" type="presParOf" srcId="{7CEA83A9-552F-419D-A7F7-68916941B317}" destId="{D7B345B2-A610-493A-A24B-4C3659B2B7F5}" srcOrd="3" destOrd="0" presId="urn:microsoft.com/office/officeart/2005/8/layout/list1"/>
    <dgm:cxn modelId="{D93D0D86-5C1A-4FC1-BDC1-B305D5872633}" type="presParOf" srcId="{7CEA83A9-552F-419D-A7F7-68916941B317}" destId="{CF0B2D69-FD6C-43A7-A667-D42EE19B6A1E}" srcOrd="4" destOrd="0" presId="urn:microsoft.com/office/officeart/2005/8/layout/list1"/>
    <dgm:cxn modelId="{AF8D557D-CA45-4663-80C9-8620B93694B6}" type="presParOf" srcId="{CF0B2D69-FD6C-43A7-A667-D42EE19B6A1E}" destId="{15B1920F-0BE2-40AE-9C40-62BD6BA11E6E}" srcOrd="0" destOrd="0" presId="urn:microsoft.com/office/officeart/2005/8/layout/list1"/>
    <dgm:cxn modelId="{7D209420-14A1-47FD-8F99-90530104763D}" type="presParOf" srcId="{CF0B2D69-FD6C-43A7-A667-D42EE19B6A1E}" destId="{F35C931C-9D7B-41F2-A6F2-AE70A2591888}" srcOrd="1" destOrd="0" presId="urn:microsoft.com/office/officeart/2005/8/layout/list1"/>
    <dgm:cxn modelId="{E5738915-865A-43A3-BBA8-82BC7376B73A}" type="presParOf" srcId="{7CEA83A9-552F-419D-A7F7-68916941B317}" destId="{F8586301-1A9A-4001-9E34-23DDB3719E7A}" srcOrd="5" destOrd="0" presId="urn:microsoft.com/office/officeart/2005/8/layout/list1"/>
    <dgm:cxn modelId="{90C67112-9F0F-42E0-ABB6-D10D3FE6B857}" type="presParOf" srcId="{7CEA83A9-552F-419D-A7F7-68916941B317}" destId="{C65156F9-BB8A-44F0-96A2-AC3521F5576F}" srcOrd="6" destOrd="0" presId="urn:microsoft.com/office/officeart/2005/8/layout/list1"/>
    <dgm:cxn modelId="{D4DFD284-168E-4946-9AE7-8D26D90D673F}" type="presParOf" srcId="{7CEA83A9-552F-419D-A7F7-68916941B317}" destId="{5E03F6F0-2746-47FE-B5DF-F85595B8D186}" srcOrd="7" destOrd="0" presId="urn:microsoft.com/office/officeart/2005/8/layout/list1"/>
    <dgm:cxn modelId="{7EF74414-A31E-4E08-9660-E1E3D27A5EFD}" type="presParOf" srcId="{7CEA83A9-552F-419D-A7F7-68916941B317}" destId="{CE227855-DDC2-49F9-A815-3D3FF7932682}" srcOrd="8" destOrd="0" presId="urn:microsoft.com/office/officeart/2005/8/layout/list1"/>
    <dgm:cxn modelId="{BEF3D70F-58FA-4E79-88F5-20F3D4784DAC}" type="presParOf" srcId="{CE227855-DDC2-49F9-A815-3D3FF7932682}" destId="{3595D7FD-FAC1-4165-878A-812799ED1CEC}" srcOrd="0" destOrd="0" presId="urn:microsoft.com/office/officeart/2005/8/layout/list1"/>
    <dgm:cxn modelId="{8D08E7FD-B4CB-400E-9C31-3AA7E2350AD6}" type="presParOf" srcId="{CE227855-DDC2-49F9-A815-3D3FF7932682}" destId="{2BCB0D37-A1DF-4E97-B747-7A7BC8339F67}" srcOrd="1" destOrd="0" presId="urn:microsoft.com/office/officeart/2005/8/layout/list1"/>
    <dgm:cxn modelId="{916CCCF3-1EC1-4CA4-B3DC-AFAA44ED7121}" type="presParOf" srcId="{7CEA83A9-552F-419D-A7F7-68916941B317}" destId="{7E066A5A-D344-491E-81AA-D71ECC593005}" srcOrd="9" destOrd="0" presId="urn:microsoft.com/office/officeart/2005/8/layout/list1"/>
    <dgm:cxn modelId="{75B6450D-FF71-4DB2-8F1F-5D52607DDD1E}" type="presParOf" srcId="{7CEA83A9-552F-419D-A7F7-68916941B317}" destId="{3244E74C-EA22-4D2B-AED2-13642DB6F71A}" srcOrd="10" destOrd="0" presId="urn:microsoft.com/office/officeart/2005/8/layout/list1"/>
    <dgm:cxn modelId="{B1141B36-5D46-4C7D-B654-75811A031885}" type="presParOf" srcId="{7CEA83A9-552F-419D-A7F7-68916941B317}" destId="{442AA625-B6D7-4978-A1B2-54B9EC19C69B}" srcOrd="11" destOrd="0" presId="urn:microsoft.com/office/officeart/2005/8/layout/list1"/>
    <dgm:cxn modelId="{C63712C9-7D99-455E-A83B-1098F27D410E}" type="presParOf" srcId="{7CEA83A9-552F-419D-A7F7-68916941B317}" destId="{E047844A-6EA6-446F-B154-655DAB6E2FCB}" srcOrd="12" destOrd="0" presId="urn:microsoft.com/office/officeart/2005/8/layout/list1"/>
    <dgm:cxn modelId="{56FAA4B8-6BF6-435F-A0F5-D04845762B7F}" type="presParOf" srcId="{E047844A-6EA6-446F-B154-655DAB6E2FCB}" destId="{22826937-3BDB-482D-B563-AA0AC4105BA8}" srcOrd="0" destOrd="0" presId="urn:microsoft.com/office/officeart/2005/8/layout/list1"/>
    <dgm:cxn modelId="{518E2F48-D139-4174-B215-E8BBFA71141E}" type="presParOf" srcId="{E047844A-6EA6-446F-B154-655DAB6E2FCB}" destId="{6D6E8E80-3332-4D8C-A218-20547AB573D6}" srcOrd="1" destOrd="0" presId="urn:microsoft.com/office/officeart/2005/8/layout/list1"/>
    <dgm:cxn modelId="{C78A6492-7974-43E8-AFDD-F498D71DA45A}" type="presParOf" srcId="{7CEA83A9-552F-419D-A7F7-68916941B317}" destId="{BAE8F7D7-7716-466F-9038-822BC27344CF}" srcOrd="13" destOrd="0" presId="urn:microsoft.com/office/officeart/2005/8/layout/list1"/>
    <dgm:cxn modelId="{F07D5169-C341-4AFA-A001-7B7946BD1DEC}" type="presParOf" srcId="{7CEA83A9-552F-419D-A7F7-68916941B317}" destId="{1D1219A6-1B20-45A6-B213-CBBF3E68E02D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64FB30D-0D66-4E48-9C11-8388D3D444B3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5BB16B3-2460-4051-8FCE-B008191BC1DB}">
      <dgm:prSet/>
      <dgm:spPr/>
      <dgm:t>
        <a:bodyPr/>
        <a:lstStyle/>
        <a:p>
          <a:r>
            <a:rPr lang="fr-FR" dirty="0" smtClean="0"/>
            <a:t>442750</a:t>
          </a:r>
          <a:endParaRPr lang="fr-FR" dirty="0"/>
        </a:p>
      </dgm:t>
    </dgm:pt>
    <dgm:pt modelId="{2B28959D-9502-4FED-81B3-3D125A7FB0D0}" type="parTrans" cxnId="{5BDE1115-9A82-4D77-9941-A2F2B766E032}">
      <dgm:prSet/>
      <dgm:spPr/>
      <dgm:t>
        <a:bodyPr/>
        <a:lstStyle/>
        <a:p>
          <a:endParaRPr lang="en-US"/>
        </a:p>
      </dgm:t>
    </dgm:pt>
    <dgm:pt modelId="{D0BB4371-9038-4D8D-A28A-6882374F3E53}" type="sibTrans" cxnId="{5BDE1115-9A82-4D77-9941-A2F2B766E032}">
      <dgm:prSet/>
      <dgm:spPr/>
      <dgm:t>
        <a:bodyPr/>
        <a:lstStyle/>
        <a:p>
          <a:endParaRPr lang="en-US"/>
        </a:p>
      </dgm:t>
    </dgm:pt>
    <dgm:pt modelId="{B6D115A8-08FC-40C8-8F25-E12EE8D34BDC}">
      <dgm:prSet/>
      <dgm:spPr/>
      <dgm:t>
        <a:bodyPr/>
        <a:lstStyle/>
        <a:p>
          <a:r>
            <a:rPr lang="fr-FR" dirty="0" smtClean="0"/>
            <a:t>442760</a:t>
          </a:r>
          <a:endParaRPr lang="fr-FR" dirty="0"/>
        </a:p>
      </dgm:t>
    </dgm:pt>
    <dgm:pt modelId="{488C9475-8CB7-4239-9229-A107BAD71CC9}" type="parTrans" cxnId="{293D1C14-D582-4D90-BA17-D71D033EA5AA}">
      <dgm:prSet/>
      <dgm:spPr/>
      <dgm:t>
        <a:bodyPr/>
        <a:lstStyle/>
        <a:p>
          <a:endParaRPr lang="en-US"/>
        </a:p>
      </dgm:t>
    </dgm:pt>
    <dgm:pt modelId="{222F28C7-91D7-48D9-A276-084F283C2B5A}" type="sibTrans" cxnId="{293D1C14-D582-4D90-BA17-D71D033EA5AA}">
      <dgm:prSet/>
      <dgm:spPr/>
      <dgm:t>
        <a:bodyPr/>
        <a:lstStyle/>
        <a:p>
          <a:endParaRPr lang="en-US"/>
        </a:p>
      </dgm:t>
    </dgm:pt>
    <dgm:pt modelId="{AD9C9E23-E322-481F-887D-7AA7E939D341}">
      <dgm:prSet/>
      <dgm:spPr/>
      <dgm:t>
        <a:bodyPr/>
        <a:lstStyle/>
        <a:p>
          <a:r>
            <a:rPr lang="fr-FR" dirty="0" smtClean="0"/>
            <a:t>Clinic Expense/</a:t>
          </a:r>
          <a:r>
            <a:rPr lang="fr-FR" dirty="0" err="1" smtClean="0"/>
            <a:t>Rent</a:t>
          </a:r>
          <a:r>
            <a:rPr lang="fr-FR" dirty="0" smtClean="0"/>
            <a:t> Expense - 70%</a:t>
          </a:r>
          <a:endParaRPr lang="fr-FR" dirty="0"/>
        </a:p>
      </dgm:t>
    </dgm:pt>
    <dgm:pt modelId="{6798A683-A1EF-4B06-8FB8-3EE0FA841A34}" type="parTrans" cxnId="{D92BFAC2-586E-4F52-B727-5A7941071F0C}">
      <dgm:prSet/>
      <dgm:spPr/>
      <dgm:t>
        <a:bodyPr/>
        <a:lstStyle/>
        <a:p>
          <a:endParaRPr lang="en-US"/>
        </a:p>
      </dgm:t>
    </dgm:pt>
    <dgm:pt modelId="{652AFA5C-E08B-4EC8-AEBC-94B42D1C9F96}" type="sibTrans" cxnId="{D92BFAC2-586E-4F52-B727-5A7941071F0C}">
      <dgm:prSet/>
      <dgm:spPr/>
      <dgm:t>
        <a:bodyPr/>
        <a:lstStyle/>
        <a:p>
          <a:endParaRPr lang="en-US"/>
        </a:p>
      </dgm:t>
    </dgm:pt>
    <dgm:pt modelId="{FACDCD87-05E5-46E6-803F-FA8008BE230E}">
      <dgm:prSet/>
      <dgm:spPr/>
      <dgm:t>
        <a:bodyPr/>
        <a:lstStyle/>
        <a:p>
          <a:r>
            <a:rPr lang="en-US" dirty="0" smtClean="0"/>
            <a:t>442770</a:t>
          </a:r>
          <a:endParaRPr lang="fr-FR" dirty="0"/>
        </a:p>
      </dgm:t>
    </dgm:pt>
    <dgm:pt modelId="{DB1883FD-DF85-4986-9D00-59E19DEB8F72}" type="parTrans" cxnId="{A58659E3-B2EC-40B1-AFB9-27DF9FB71A87}">
      <dgm:prSet/>
      <dgm:spPr/>
      <dgm:t>
        <a:bodyPr/>
        <a:lstStyle/>
        <a:p>
          <a:endParaRPr lang="en-US"/>
        </a:p>
      </dgm:t>
    </dgm:pt>
    <dgm:pt modelId="{3783811A-A598-47B2-8E6A-54949FC70DFA}" type="sibTrans" cxnId="{A58659E3-B2EC-40B1-AFB9-27DF9FB71A87}">
      <dgm:prSet/>
      <dgm:spPr/>
      <dgm:t>
        <a:bodyPr/>
        <a:lstStyle/>
        <a:p>
          <a:endParaRPr lang="en-US"/>
        </a:p>
      </dgm:t>
    </dgm:pt>
    <dgm:pt modelId="{AD61297D-4863-443B-8C1F-CABC6763FFDB}">
      <dgm:prSet/>
      <dgm:spPr/>
      <dgm:t>
        <a:bodyPr/>
        <a:lstStyle/>
        <a:p>
          <a:r>
            <a:rPr lang="fr-FR" dirty="0" smtClean="0"/>
            <a:t>Drug Expense - 100%</a:t>
          </a:r>
          <a:br>
            <a:rPr lang="fr-FR" dirty="0" smtClean="0"/>
          </a:br>
          <a:endParaRPr lang="fr-FR" dirty="0"/>
        </a:p>
      </dgm:t>
    </dgm:pt>
    <dgm:pt modelId="{ACCAE6BF-CD02-4F24-9400-6F29C83B7511}" type="parTrans" cxnId="{0D4EC034-C2A8-400E-B691-6213726024B3}">
      <dgm:prSet/>
      <dgm:spPr/>
      <dgm:t>
        <a:bodyPr/>
        <a:lstStyle/>
        <a:p>
          <a:endParaRPr lang="en-US"/>
        </a:p>
      </dgm:t>
    </dgm:pt>
    <dgm:pt modelId="{AF41536B-C0D0-44BA-A005-410672ED1DE5}" type="sibTrans" cxnId="{0D4EC034-C2A8-400E-B691-6213726024B3}">
      <dgm:prSet/>
      <dgm:spPr/>
      <dgm:t>
        <a:bodyPr/>
        <a:lstStyle/>
        <a:p>
          <a:endParaRPr lang="en-US"/>
        </a:p>
      </dgm:t>
    </dgm:pt>
    <dgm:pt modelId="{719FE97A-83A5-4B42-AECE-4EB33FFF3F80}">
      <dgm:prSet/>
      <dgm:spPr/>
      <dgm:t>
        <a:bodyPr/>
        <a:lstStyle/>
        <a:p>
          <a:r>
            <a:rPr lang="en-US" dirty="0" smtClean="0"/>
            <a:t>442780</a:t>
          </a:r>
          <a:endParaRPr lang="fr-FR" dirty="0"/>
        </a:p>
      </dgm:t>
    </dgm:pt>
    <dgm:pt modelId="{5B2D7AB2-1E86-4854-8310-44E12623B871}" type="parTrans" cxnId="{45A623FC-A2C3-4550-8AFA-F84D98641385}">
      <dgm:prSet/>
      <dgm:spPr/>
      <dgm:t>
        <a:bodyPr/>
        <a:lstStyle/>
        <a:p>
          <a:endParaRPr lang="en-US"/>
        </a:p>
      </dgm:t>
    </dgm:pt>
    <dgm:pt modelId="{5AF41C7F-33D8-4402-A6E2-442167FE2BCB}" type="sibTrans" cxnId="{45A623FC-A2C3-4550-8AFA-F84D98641385}">
      <dgm:prSet/>
      <dgm:spPr/>
      <dgm:t>
        <a:bodyPr/>
        <a:lstStyle/>
        <a:p>
          <a:endParaRPr lang="en-US"/>
        </a:p>
      </dgm:t>
    </dgm:pt>
    <dgm:pt modelId="{6606A792-1329-4A2D-B1DF-5C80E16B24D0}">
      <dgm:prSet/>
      <dgm:spPr/>
      <dgm:t>
        <a:bodyPr/>
        <a:lstStyle/>
        <a:p>
          <a:r>
            <a:rPr lang="en-US" dirty="0" smtClean="0"/>
            <a:t>Technical</a:t>
          </a:r>
          <a:endParaRPr lang="fr-FR" dirty="0"/>
        </a:p>
      </dgm:t>
    </dgm:pt>
    <dgm:pt modelId="{61B05F44-FC8D-45E9-AB22-0E24D691ECF7}" type="parTrans" cxnId="{EDDCDDF8-C10E-449B-A435-4819FC6670FA}">
      <dgm:prSet/>
      <dgm:spPr/>
      <dgm:t>
        <a:bodyPr/>
        <a:lstStyle/>
        <a:p>
          <a:endParaRPr lang="en-US"/>
        </a:p>
      </dgm:t>
    </dgm:pt>
    <dgm:pt modelId="{3D6D38A0-23B1-4E36-8071-409CF9EAD3C1}" type="sibTrans" cxnId="{EDDCDDF8-C10E-449B-A435-4819FC6670FA}">
      <dgm:prSet/>
      <dgm:spPr/>
      <dgm:t>
        <a:bodyPr/>
        <a:lstStyle/>
        <a:p>
          <a:endParaRPr lang="en-US"/>
        </a:p>
      </dgm:t>
    </dgm:pt>
    <dgm:pt modelId="{17044E0E-4BB8-42ED-813C-E43930D51D7E}">
      <dgm:prSet/>
      <dgm:spPr/>
      <dgm:t>
        <a:bodyPr/>
        <a:lstStyle/>
        <a:p>
          <a:r>
            <a:rPr lang="en-US" dirty="0" smtClean="0"/>
            <a:t>Adjustments</a:t>
          </a:r>
          <a:endParaRPr lang="fr-FR" dirty="0"/>
        </a:p>
      </dgm:t>
    </dgm:pt>
    <dgm:pt modelId="{6C2202BE-0518-4F87-B2E2-35E77B00FD67}" type="parTrans" cxnId="{4D5286D9-B490-4058-A39A-F45B20D296EE}">
      <dgm:prSet/>
      <dgm:spPr/>
      <dgm:t>
        <a:bodyPr/>
        <a:lstStyle/>
        <a:p>
          <a:endParaRPr lang="en-US"/>
        </a:p>
      </dgm:t>
    </dgm:pt>
    <dgm:pt modelId="{E9A99799-7A31-44A7-BCC2-674EAFE7AE43}" type="sibTrans" cxnId="{4D5286D9-B490-4058-A39A-F45B20D296EE}">
      <dgm:prSet/>
      <dgm:spPr/>
      <dgm:t>
        <a:bodyPr/>
        <a:lstStyle/>
        <a:p>
          <a:endParaRPr lang="en-US"/>
        </a:p>
      </dgm:t>
    </dgm:pt>
    <dgm:pt modelId="{7CEA83A9-552F-419D-A7F7-68916941B317}" type="pres">
      <dgm:prSet presAssocID="{F64FB30D-0D66-4E48-9C11-8388D3D444B3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8618610-652A-4943-996B-311D67BB1B02}" type="pres">
      <dgm:prSet presAssocID="{95BB16B3-2460-4051-8FCE-B008191BC1DB}" presName="parentLin" presStyleCnt="0"/>
      <dgm:spPr/>
    </dgm:pt>
    <dgm:pt modelId="{8AA99B92-CDD1-4810-BA6B-9F9147258488}" type="pres">
      <dgm:prSet presAssocID="{95BB16B3-2460-4051-8FCE-B008191BC1DB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4B6A6448-FF3F-42BD-A95D-EC67D5DF97FF}" type="pres">
      <dgm:prSet presAssocID="{95BB16B3-2460-4051-8FCE-B008191BC1DB}" presName="parentText" presStyleLbl="node1" presStyleIdx="0" presStyleCnt="4" custLinFactNeighborY="-25491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EC83701-0975-4155-9EE6-14FD6CA49395}" type="pres">
      <dgm:prSet presAssocID="{95BB16B3-2460-4051-8FCE-B008191BC1DB}" presName="negativeSpace" presStyleCnt="0"/>
      <dgm:spPr/>
    </dgm:pt>
    <dgm:pt modelId="{80CFBF81-2C30-4A7E-8204-6F5C71187D08}" type="pres">
      <dgm:prSet presAssocID="{95BB16B3-2460-4051-8FCE-B008191BC1DB}" presName="childText" presStyleLbl="conFgAcc1" presStyleIdx="0" presStyleCnt="4" custLinFactNeighborY="1802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840A888-DF0A-46E6-872D-404F8C4D0C34}" type="pres">
      <dgm:prSet presAssocID="{D0BB4371-9038-4D8D-A28A-6882374F3E53}" presName="spaceBetweenRectangles" presStyleCnt="0"/>
      <dgm:spPr/>
    </dgm:pt>
    <dgm:pt modelId="{F22E9541-86B8-49BD-B731-54DCE3203C8E}" type="pres">
      <dgm:prSet presAssocID="{B6D115A8-08FC-40C8-8F25-E12EE8D34BDC}" presName="parentLin" presStyleCnt="0"/>
      <dgm:spPr/>
    </dgm:pt>
    <dgm:pt modelId="{AF8F79E6-B0C5-4BCE-A893-18453642303D}" type="pres">
      <dgm:prSet presAssocID="{B6D115A8-08FC-40C8-8F25-E12EE8D34BDC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7082FDD5-A18E-4A1E-BEF3-EA9B92344DED}" type="pres">
      <dgm:prSet presAssocID="{B6D115A8-08FC-40C8-8F25-E12EE8D34BDC}" presName="parentText" presStyleLbl="node1" presStyleIdx="1" presStyleCnt="4" custLinFactNeighborY="-21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9845F75-8AF7-4C2F-810D-7E01E2865D2F}" type="pres">
      <dgm:prSet presAssocID="{B6D115A8-08FC-40C8-8F25-E12EE8D34BDC}" presName="negativeSpace" presStyleCnt="0"/>
      <dgm:spPr/>
    </dgm:pt>
    <dgm:pt modelId="{082C94F5-1E69-4899-B2FA-92FA48ADDFBD}" type="pres">
      <dgm:prSet presAssocID="{B6D115A8-08FC-40C8-8F25-E12EE8D34BDC}" presName="childText" presStyleLbl="conFgAcc1" presStyleIdx="1" presStyleCnt="4" custLinFactNeighborY="-114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5BDF2FD-F58C-4AFC-AE86-05640AF71432}" type="pres">
      <dgm:prSet presAssocID="{222F28C7-91D7-48D9-A276-084F283C2B5A}" presName="spaceBetweenRectangles" presStyleCnt="0"/>
      <dgm:spPr/>
    </dgm:pt>
    <dgm:pt modelId="{46F358AC-5CA1-4926-ABDC-E68A6215CF08}" type="pres">
      <dgm:prSet presAssocID="{FACDCD87-05E5-46E6-803F-FA8008BE230E}" presName="parentLin" presStyleCnt="0"/>
      <dgm:spPr/>
    </dgm:pt>
    <dgm:pt modelId="{97A8CA3F-B509-47E3-BDD4-1B707D8548B2}" type="pres">
      <dgm:prSet presAssocID="{FACDCD87-05E5-46E6-803F-FA8008BE230E}" presName="parentLeftMargin" presStyleLbl="node1" presStyleIdx="1" presStyleCnt="4"/>
      <dgm:spPr/>
      <dgm:t>
        <a:bodyPr/>
        <a:lstStyle/>
        <a:p>
          <a:endParaRPr lang="en-US"/>
        </a:p>
      </dgm:t>
    </dgm:pt>
    <dgm:pt modelId="{BD16FB7D-CB8C-4156-9D51-60C398EDF7EA}" type="pres">
      <dgm:prSet presAssocID="{FACDCD87-05E5-46E6-803F-FA8008BE230E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05623CB-CAF4-4583-A07B-6190DD13CF0F}" type="pres">
      <dgm:prSet presAssocID="{FACDCD87-05E5-46E6-803F-FA8008BE230E}" presName="negativeSpace" presStyleCnt="0"/>
      <dgm:spPr/>
    </dgm:pt>
    <dgm:pt modelId="{ABA35EAE-8B51-4DF4-9E53-3E1C5614AD8E}" type="pres">
      <dgm:prSet presAssocID="{FACDCD87-05E5-46E6-803F-FA8008BE230E}" presName="childText" presStyleLbl="conFgAcc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EE960C6-8186-491E-8C72-842B1B5ABB50}" type="pres">
      <dgm:prSet presAssocID="{3783811A-A598-47B2-8E6A-54949FC70DFA}" presName="spaceBetweenRectangles" presStyleCnt="0"/>
      <dgm:spPr/>
    </dgm:pt>
    <dgm:pt modelId="{F3D88962-D407-4BCB-97DC-1D0BE8E2B5AE}" type="pres">
      <dgm:prSet presAssocID="{719FE97A-83A5-4B42-AECE-4EB33FFF3F80}" presName="parentLin" presStyleCnt="0"/>
      <dgm:spPr/>
    </dgm:pt>
    <dgm:pt modelId="{68FCF0CC-3A32-42EF-A0A2-4E33D22E3D60}" type="pres">
      <dgm:prSet presAssocID="{719FE97A-83A5-4B42-AECE-4EB33FFF3F80}" presName="parentLeftMargin" presStyleLbl="node1" presStyleIdx="2" presStyleCnt="4"/>
      <dgm:spPr/>
      <dgm:t>
        <a:bodyPr/>
        <a:lstStyle/>
        <a:p>
          <a:endParaRPr lang="en-US"/>
        </a:p>
      </dgm:t>
    </dgm:pt>
    <dgm:pt modelId="{0196ABF7-E6F8-4F2A-A241-8D89EFA3FA1D}" type="pres">
      <dgm:prSet presAssocID="{719FE97A-83A5-4B42-AECE-4EB33FFF3F80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479A3B4-E785-45F2-85EB-A856CA6D9E06}" type="pres">
      <dgm:prSet presAssocID="{719FE97A-83A5-4B42-AECE-4EB33FFF3F80}" presName="negativeSpace" presStyleCnt="0"/>
      <dgm:spPr/>
    </dgm:pt>
    <dgm:pt modelId="{20716131-A96E-4855-896A-D278FA2EA77A}" type="pres">
      <dgm:prSet presAssocID="{719FE97A-83A5-4B42-AECE-4EB33FFF3F80}" presName="childText" presStyleLbl="conFgAcc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FBAF39B-C518-4F26-87E0-501BCB666E72}" type="presOf" srcId="{F64FB30D-0D66-4E48-9C11-8388D3D444B3}" destId="{7CEA83A9-552F-419D-A7F7-68916941B317}" srcOrd="0" destOrd="0" presId="urn:microsoft.com/office/officeart/2005/8/layout/list1"/>
    <dgm:cxn modelId="{0F617768-E335-4CF6-8754-DF9E8E545316}" type="presOf" srcId="{95BB16B3-2460-4051-8FCE-B008191BC1DB}" destId="{8AA99B92-CDD1-4810-BA6B-9F9147258488}" srcOrd="0" destOrd="0" presId="urn:microsoft.com/office/officeart/2005/8/layout/list1"/>
    <dgm:cxn modelId="{0D4EC034-C2A8-400E-B691-6213726024B3}" srcId="{B6D115A8-08FC-40C8-8F25-E12EE8D34BDC}" destId="{AD61297D-4863-443B-8C1F-CABC6763FFDB}" srcOrd="0" destOrd="0" parTransId="{ACCAE6BF-CD02-4F24-9400-6F29C83B7511}" sibTransId="{AF41536B-C0D0-44BA-A005-410672ED1DE5}"/>
    <dgm:cxn modelId="{4D5286D9-B490-4058-A39A-F45B20D296EE}" srcId="{719FE97A-83A5-4B42-AECE-4EB33FFF3F80}" destId="{17044E0E-4BB8-42ED-813C-E43930D51D7E}" srcOrd="0" destOrd="0" parTransId="{6C2202BE-0518-4F87-B2E2-35E77B00FD67}" sibTransId="{E9A99799-7A31-44A7-BCC2-674EAFE7AE43}"/>
    <dgm:cxn modelId="{14B653CE-5BFF-47C1-96F2-E52C9C5C796F}" type="presOf" srcId="{B6D115A8-08FC-40C8-8F25-E12EE8D34BDC}" destId="{AF8F79E6-B0C5-4BCE-A893-18453642303D}" srcOrd="0" destOrd="0" presId="urn:microsoft.com/office/officeart/2005/8/layout/list1"/>
    <dgm:cxn modelId="{293D1C14-D582-4D90-BA17-D71D033EA5AA}" srcId="{F64FB30D-0D66-4E48-9C11-8388D3D444B3}" destId="{B6D115A8-08FC-40C8-8F25-E12EE8D34BDC}" srcOrd="1" destOrd="0" parTransId="{488C9475-8CB7-4239-9229-A107BAD71CC9}" sibTransId="{222F28C7-91D7-48D9-A276-084F283C2B5A}"/>
    <dgm:cxn modelId="{4BE52397-5ED5-428A-9D16-81387A3F48DD}" type="presOf" srcId="{AD9C9E23-E322-481F-887D-7AA7E939D341}" destId="{80CFBF81-2C30-4A7E-8204-6F5C71187D08}" srcOrd="0" destOrd="0" presId="urn:microsoft.com/office/officeart/2005/8/layout/list1"/>
    <dgm:cxn modelId="{02B6F129-7D4D-4A61-9E48-24C42A5FF4B8}" type="presOf" srcId="{FACDCD87-05E5-46E6-803F-FA8008BE230E}" destId="{BD16FB7D-CB8C-4156-9D51-60C398EDF7EA}" srcOrd="1" destOrd="0" presId="urn:microsoft.com/office/officeart/2005/8/layout/list1"/>
    <dgm:cxn modelId="{A968BEA8-3344-4ED6-9F91-E8DDB3026E85}" type="presOf" srcId="{FACDCD87-05E5-46E6-803F-FA8008BE230E}" destId="{97A8CA3F-B509-47E3-BDD4-1B707D8548B2}" srcOrd="0" destOrd="0" presId="urn:microsoft.com/office/officeart/2005/8/layout/list1"/>
    <dgm:cxn modelId="{E5F4657F-DEBF-47F4-964D-C4AA61B1869A}" type="presOf" srcId="{B6D115A8-08FC-40C8-8F25-E12EE8D34BDC}" destId="{7082FDD5-A18E-4A1E-BEF3-EA9B92344DED}" srcOrd="1" destOrd="0" presId="urn:microsoft.com/office/officeart/2005/8/layout/list1"/>
    <dgm:cxn modelId="{301F3D62-8469-4C9A-B548-36290C7C555B}" type="presOf" srcId="{6606A792-1329-4A2D-B1DF-5C80E16B24D0}" destId="{ABA35EAE-8B51-4DF4-9E53-3E1C5614AD8E}" srcOrd="0" destOrd="0" presId="urn:microsoft.com/office/officeart/2005/8/layout/list1"/>
    <dgm:cxn modelId="{5BDE1115-9A82-4D77-9941-A2F2B766E032}" srcId="{F64FB30D-0D66-4E48-9C11-8388D3D444B3}" destId="{95BB16B3-2460-4051-8FCE-B008191BC1DB}" srcOrd="0" destOrd="0" parTransId="{2B28959D-9502-4FED-81B3-3D125A7FB0D0}" sibTransId="{D0BB4371-9038-4D8D-A28A-6882374F3E53}"/>
    <dgm:cxn modelId="{D92BFAC2-586E-4F52-B727-5A7941071F0C}" srcId="{95BB16B3-2460-4051-8FCE-B008191BC1DB}" destId="{AD9C9E23-E322-481F-887D-7AA7E939D341}" srcOrd="0" destOrd="0" parTransId="{6798A683-A1EF-4B06-8FB8-3EE0FA841A34}" sibTransId="{652AFA5C-E08B-4EC8-AEBC-94B42D1C9F96}"/>
    <dgm:cxn modelId="{7788A013-2110-40A1-B638-8F152726DB74}" type="presOf" srcId="{719FE97A-83A5-4B42-AECE-4EB33FFF3F80}" destId="{0196ABF7-E6F8-4F2A-A241-8D89EFA3FA1D}" srcOrd="1" destOrd="0" presId="urn:microsoft.com/office/officeart/2005/8/layout/list1"/>
    <dgm:cxn modelId="{BAC17F5A-0B76-4D3E-856B-71822E39C104}" type="presOf" srcId="{17044E0E-4BB8-42ED-813C-E43930D51D7E}" destId="{20716131-A96E-4855-896A-D278FA2EA77A}" srcOrd="0" destOrd="0" presId="urn:microsoft.com/office/officeart/2005/8/layout/list1"/>
    <dgm:cxn modelId="{1A0B2963-A003-49F4-923D-405210B545BB}" type="presOf" srcId="{95BB16B3-2460-4051-8FCE-B008191BC1DB}" destId="{4B6A6448-FF3F-42BD-A95D-EC67D5DF97FF}" srcOrd="1" destOrd="0" presId="urn:microsoft.com/office/officeart/2005/8/layout/list1"/>
    <dgm:cxn modelId="{5BB18230-F96A-400D-A5C7-28E21F011C07}" type="presOf" srcId="{AD61297D-4863-443B-8C1F-CABC6763FFDB}" destId="{082C94F5-1E69-4899-B2FA-92FA48ADDFBD}" srcOrd="0" destOrd="0" presId="urn:microsoft.com/office/officeart/2005/8/layout/list1"/>
    <dgm:cxn modelId="{F1ACFE13-63C5-4570-8756-3C7BCA85D523}" type="presOf" srcId="{719FE97A-83A5-4B42-AECE-4EB33FFF3F80}" destId="{68FCF0CC-3A32-42EF-A0A2-4E33D22E3D60}" srcOrd="0" destOrd="0" presId="urn:microsoft.com/office/officeart/2005/8/layout/list1"/>
    <dgm:cxn modelId="{45A623FC-A2C3-4550-8AFA-F84D98641385}" srcId="{F64FB30D-0D66-4E48-9C11-8388D3D444B3}" destId="{719FE97A-83A5-4B42-AECE-4EB33FFF3F80}" srcOrd="3" destOrd="0" parTransId="{5B2D7AB2-1E86-4854-8310-44E12623B871}" sibTransId="{5AF41C7F-33D8-4402-A6E2-442167FE2BCB}"/>
    <dgm:cxn modelId="{EDDCDDF8-C10E-449B-A435-4819FC6670FA}" srcId="{FACDCD87-05E5-46E6-803F-FA8008BE230E}" destId="{6606A792-1329-4A2D-B1DF-5C80E16B24D0}" srcOrd="0" destOrd="0" parTransId="{61B05F44-FC8D-45E9-AB22-0E24D691ECF7}" sibTransId="{3D6D38A0-23B1-4E36-8071-409CF9EAD3C1}"/>
    <dgm:cxn modelId="{A58659E3-B2EC-40B1-AFB9-27DF9FB71A87}" srcId="{F64FB30D-0D66-4E48-9C11-8388D3D444B3}" destId="{FACDCD87-05E5-46E6-803F-FA8008BE230E}" srcOrd="2" destOrd="0" parTransId="{DB1883FD-DF85-4986-9D00-59E19DEB8F72}" sibTransId="{3783811A-A598-47B2-8E6A-54949FC70DFA}"/>
    <dgm:cxn modelId="{D9B14CB2-D2A8-4BE7-B0D2-D0876CBD98C8}" type="presParOf" srcId="{7CEA83A9-552F-419D-A7F7-68916941B317}" destId="{E8618610-652A-4943-996B-311D67BB1B02}" srcOrd="0" destOrd="0" presId="urn:microsoft.com/office/officeart/2005/8/layout/list1"/>
    <dgm:cxn modelId="{FDB5CAE4-7748-4A6F-9D5B-36D81B01843C}" type="presParOf" srcId="{E8618610-652A-4943-996B-311D67BB1B02}" destId="{8AA99B92-CDD1-4810-BA6B-9F9147258488}" srcOrd="0" destOrd="0" presId="urn:microsoft.com/office/officeart/2005/8/layout/list1"/>
    <dgm:cxn modelId="{82584F72-45D9-4E9E-9C87-1D4DDFDD3E80}" type="presParOf" srcId="{E8618610-652A-4943-996B-311D67BB1B02}" destId="{4B6A6448-FF3F-42BD-A95D-EC67D5DF97FF}" srcOrd="1" destOrd="0" presId="urn:microsoft.com/office/officeart/2005/8/layout/list1"/>
    <dgm:cxn modelId="{18DAD2DC-0E41-422E-B5DA-DE47123E56D7}" type="presParOf" srcId="{7CEA83A9-552F-419D-A7F7-68916941B317}" destId="{6EC83701-0975-4155-9EE6-14FD6CA49395}" srcOrd="1" destOrd="0" presId="urn:microsoft.com/office/officeart/2005/8/layout/list1"/>
    <dgm:cxn modelId="{A23942C9-50AD-4D24-A8BB-E262F2C3C8CF}" type="presParOf" srcId="{7CEA83A9-552F-419D-A7F7-68916941B317}" destId="{80CFBF81-2C30-4A7E-8204-6F5C71187D08}" srcOrd="2" destOrd="0" presId="urn:microsoft.com/office/officeart/2005/8/layout/list1"/>
    <dgm:cxn modelId="{9A9004FA-FFE6-484E-91A2-59B77D8A9BF5}" type="presParOf" srcId="{7CEA83A9-552F-419D-A7F7-68916941B317}" destId="{8840A888-DF0A-46E6-872D-404F8C4D0C34}" srcOrd="3" destOrd="0" presId="urn:microsoft.com/office/officeart/2005/8/layout/list1"/>
    <dgm:cxn modelId="{5EF91B02-ACD1-4B4A-BA17-C322B2AB36A5}" type="presParOf" srcId="{7CEA83A9-552F-419D-A7F7-68916941B317}" destId="{F22E9541-86B8-49BD-B731-54DCE3203C8E}" srcOrd="4" destOrd="0" presId="urn:microsoft.com/office/officeart/2005/8/layout/list1"/>
    <dgm:cxn modelId="{13AED313-0696-4C2B-BAF0-2578154D90D5}" type="presParOf" srcId="{F22E9541-86B8-49BD-B731-54DCE3203C8E}" destId="{AF8F79E6-B0C5-4BCE-A893-18453642303D}" srcOrd="0" destOrd="0" presId="urn:microsoft.com/office/officeart/2005/8/layout/list1"/>
    <dgm:cxn modelId="{BDB39DB9-831E-4DD5-93AA-0FB632C6E617}" type="presParOf" srcId="{F22E9541-86B8-49BD-B731-54DCE3203C8E}" destId="{7082FDD5-A18E-4A1E-BEF3-EA9B92344DED}" srcOrd="1" destOrd="0" presId="urn:microsoft.com/office/officeart/2005/8/layout/list1"/>
    <dgm:cxn modelId="{E0550FA4-AECB-4304-907F-65DBE88D8A43}" type="presParOf" srcId="{7CEA83A9-552F-419D-A7F7-68916941B317}" destId="{49845F75-8AF7-4C2F-810D-7E01E2865D2F}" srcOrd="5" destOrd="0" presId="urn:microsoft.com/office/officeart/2005/8/layout/list1"/>
    <dgm:cxn modelId="{2AD7EBF9-48AC-4F5A-8371-291DE85DA077}" type="presParOf" srcId="{7CEA83A9-552F-419D-A7F7-68916941B317}" destId="{082C94F5-1E69-4899-B2FA-92FA48ADDFBD}" srcOrd="6" destOrd="0" presId="urn:microsoft.com/office/officeart/2005/8/layout/list1"/>
    <dgm:cxn modelId="{B70F82E6-4A6C-4A3F-AC8D-66A3F0484D1C}" type="presParOf" srcId="{7CEA83A9-552F-419D-A7F7-68916941B317}" destId="{15BDF2FD-F58C-4AFC-AE86-05640AF71432}" srcOrd="7" destOrd="0" presId="urn:microsoft.com/office/officeart/2005/8/layout/list1"/>
    <dgm:cxn modelId="{865751A9-8AD1-459C-A107-FE82A05A804D}" type="presParOf" srcId="{7CEA83A9-552F-419D-A7F7-68916941B317}" destId="{46F358AC-5CA1-4926-ABDC-E68A6215CF08}" srcOrd="8" destOrd="0" presId="urn:microsoft.com/office/officeart/2005/8/layout/list1"/>
    <dgm:cxn modelId="{5724EE5B-7F35-41B6-A152-961E273E9639}" type="presParOf" srcId="{46F358AC-5CA1-4926-ABDC-E68A6215CF08}" destId="{97A8CA3F-B509-47E3-BDD4-1B707D8548B2}" srcOrd="0" destOrd="0" presId="urn:microsoft.com/office/officeart/2005/8/layout/list1"/>
    <dgm:cxn modelId="{8C5E628B-7AA6-44D4-B940-707212D84E9E}" type="presParOf" srcId="{46F358AC-5CA1-4926-ABDC-E68A6215CF08}" destId="{BD16FB7D-CB8C-4156-9D51-60C398EDF7EA}" srcOrd="1" destOrd="0" presId="urn:microsoft.com/office/officeart/2005/8/layout/list1"/>
    <dgm:cxn modelId="{EFC88EE6-7221-4852-995A-6AE2B3DC0AFA}" type="presParOf" srcId="{7CEA83A9-552F-419D-A7F7-68916941B317}" destId="{C05623CB-CAF4-4583-A07B-6190DD13CF0F}" srcOrd="9" destOrd="0" presId="urn:microsoft.com/office/officeart/2005/8/layout/list1"/>
    <dgm:cxn modelId="{2B9179E0-265F-475F-B12C-60239F3819A2}" type="presParOf" srcId="{7CEA83A9-552F-419D-A7F7-68916941B317}" destId="{ABA35EAE-8B51-4DF4-9E53-3E1C5614AD8E}" srcOrd="10" destOrd="0" presId="urn:microsoft.com/office/officeart/2005/8/layout/list1"/>
    <dgm:cxn modelId="{889C688C-D3FC-4F21-8655-9B765FEEC0CF}" type="presParOf" srcId="{7CEA83A9-552F-419D-A7F7-68916941B317}" destId="{5EE960C6-8186-491E-8C72-842B1B5ABB50}" srcOrd="11" destOrd="0" presId="urn:microsoft.com/office/officeart/2005/8/layout/list1"/>
    <dgm:cxn modelId="{8DDE285A-7211-4D12-8AC1-AC94EC9857A6}" type="presParOf" srcId="{7CEA83A9-552F-419D-A7F7-68916941B317}" destId="{F3D88962-D407-4BCB-97DC-1D0BE8E2B5AE}" srcOrd="12" destOrd="0" presId="urn:microsoft.com/office/officeart/2005/8/layout/list1"/>
    <dgm:cxn modelId="{FA8FB928-8A15-46D6-A177-6B73A64D91F6}" type="presParOf" srcId="{F3D88962-D407-4BCB-97DC-1D0BE8E2B5AE}" destId="{68FCF0CC-3A32-42EF-A0A2-4E33D22E3D60}" srcOrd="0" destOrd="0" presId="urn:microsoft.com/office/officeart/2005/8/layout/list1"/>
    <dgm:cxn modelId="{FF0C17CE-0338-4E68-B12D-56BBBB4655FA}" type="presParOf" srcId="{F3D88962-D407-4BCB-97DC-1D0BE8E2B5AE}" destId="{0196ABF7-E6F8-4F2A-A241-8D89EFA3FA1D}" srcOrd="1" destOrd="0" presId="urn:microsoft.com/office/officeart/2005/8/layout/list1"/>
    <dgm:cxn modelId="{83FEB0F6-3EED-4C8D-A118-1C0F4326E9E3}" type="presParOf" srcId="{7CEA83A9-552F-419D-A7F7-68916941B317}" destId="{F479A3B4-E785-45F2-85EB-A856CA6D9E06}" srcOrd="13" destOrd="0" presId="urn:microsoft.com/office/officeart/2005/8/layout/list1"/>
    <dgm:cxn modelId="{FFAD8867-053D-4B0B-8456-0D3F4BB1C0D4}" type="presParOf" srcId="{7CEA83A9-552F-419D-A7F7-68916941B317}" destId="{20716131-A96E-4855-896A-D278FA2EA77A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28B689D-F9FF-4ACD-8415-9DFEB1311497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F1823C5-DA31-4338-84FF-3BCCF52EF8BA}">
      <dgm:prSet custT="1"/>
      <dgm:spPr/>
      <dgm:t>
        <a:bodyPr/>
        <a:lstStyle/>
        <a:p>
          <a:r>
            <a:rPr lang="en-US" sz="1600" b="1" dirty="0" smtClean="0"/>
            <a:t>442750: Clinic/Rent Expense</a:t>
          </a:r>
          <a:endParaRPr lang="en-US" sz="1600" b="1" dirty="0"/>
        </a:p>
      </dgm:t>
    </dgm:pt>
    <dgm:pt modelId="{29348439-DB9A-45DF-9054-A244BD47DA61}" type="parTrans" cxnId="{D1288057-2AD3-4A3D-9C7F-5D5149E90581}">
      <dgm:prSet/>
      <dgm:spPr/>
      <dgm:t>
        <a:bodyPr/>
        <a:lstStyle/>
        <a:p>
          <a:endParaRPr lang="en-US"/>
        </a:p>
      </dgm:t>
    </dgm:pt>
    <dgm:pt modelId="{8016C716-5625-4D37-BF6C-56765089E72D}" type="sibTrans" cxnId="{D1288057-2AD3-4A3D-9C7F-5D5149E90581}">
      <dgm:prSet/>
      <dgm:spPr/>
      <dgm:t>
        <a:bodyPr/>
        <a:lstStyle/>
        <a:p>
          <a:endParaRPr lang="en-US"/>
        </a:p>
      </dgm:t>
    </dgm:pt>
    <dgm:pt modelId="{B3184653-1C33-466B-AC4A-E11C2942BD97}">
      <dgm:prSet/>
      <dgm:spPr/>
      <dgm:t>
        <a:bodyPr/>
        <a:lstStyle/>
        <a:p>
          <a:r>
            <a:rPr lang="en-US" b="0" dirty="0" smtClean="0"/>
            <a:t>Not including APPs, malpractice, and scribes which will continue to be paid by the departments</a:t>
          </a:r>
          <a:endParaRPr lang="en-US" b="0" dirty="0"/>
        </a:p>
      </dgm:t>
    </dgm:pt>
    <dgm:pt modelId="{9B77C582-132F-4E94-BB67-77CDDA98C4A9}" type="parTrans" cxnId="{159A0501-3E58-4594-9C3D-07CDD2E1FD78}">
      <dgm:prSet/>
      <dgm:spPr/>
      <dgm:t>
        <a:bodyPr/>
        <a:lstStyle/>
        <a:p>
          <a:endParaRPr lang="en-US"/>
        </a:p>
      </dgm:t>
    </dgm:pt>
    <dgm:pt modelId="{867E424B-4FA1-42AA-85F5-48F2C064373D}" type="sibTrans" cxnId="{159A0501-3E58-4594-9C3D-07CDD2E1FD78}">
      <dgm:prSet/>
      <dgm:spPr/>
      <dgm:t>
        <a:bodyPr/>
        <a:lstStyle/>
        <a:p>
          <a:endParaRPr lang="en-US"/>
        </a:p>
      </dgm:t>
    </dgm:pt>
    <dgm:pt modelId="{ECFD6B90-73EF-47E7-BE98-E86707D45CDA}">
      <dgm:prSet custT="1"/>
      <dgm:spPr/>
      <dgm:t>
        <a:bodyPr/>
        <a:lstStyle/>
        <a:p>
          <a:r>
            <a:rPr lang="en-US" sz="1600" b="1" dirty="0" smtClean="0"/>
            <a:t>442760: Drug Expense Reimbursement</a:t>
          </a:r>
          <a:endParaRPr lang="en-US" sz="1600" b="1" dirty="0"/>
        </a:p>
      </dgm:t>
    </dgm:pt>
    <dgm:pt modelId="{28B4240D-ACCB-4255-B966-D0824136CB01}" type="parTrans" cxnId="{173AEE1E-CD09-4B7B-8E8E-BEBCCC40D024}">
      <dgm:prSet/>
      <dgm:spPr/>
      <dgm:t>
        <a:bodyPr/>
        <a:lstStyle/>
        <a:p>
          <a:endParaRPr lang="en-US"/>
        </a:p>
      </dgm:t>
    </dgm:pt>
    <dgm:pt modelId="{47063B80-B396-460B-939D-44DC2792F21E}" type="sibTrans" cxnId="{173AEE1E-CD09-4B7B-8E8E-BEBCCC40D024}">
      <dgm:prSet/>
      <dgm:spPr/>
      <dgm:t>
        <a:bodyPr/>
        <a:lstStyle/>
        <a:p>
          <a:endParaRPr lang="en-US"/>
        </a:p>
      </dgm:t>
    </dgm:pt>
    <dgm:pt modelId="{5A252E32-2314-4FB2-86B1-9A21C442A884}">
      <dgm:prSet/>
      <dgm:spPr/>
      <dgm:t>
        <a:bodyPr/>
        <a:lstStyle/>
        <a:p>
          <a:r>
            <a:rPr lang="en-US" b="0" dirty="0" smtClean="0"/>
            <a:t>100% of drug expense is reimbursed</a:t>
          </a:r>
          <a:endParaRPr lang="en-US" b="0" dirty="0"/>
        </a:p>
      </dgm:t>
    </dgm:pt>
    <dgm:pt modelId="{1EF353AE-85EA-4627-B8AA-854B9A2BCC46}" type="parTrans" cxnId="{AC3A974C-C77B-47E1-A0B3-B25186919459}">
      <dgm:prSet/>
      <dgm:spPr/>
      <dgm:t>
        <a:bodyPr/>
        <a:lstStyle/>
        <a:p>
          <a:endParaRPr lang="en-US"/>
        </a:p>
      </dgm:t>
    </dgm:pt>
    <dgm:pt modelId="{DB4E9E55-2A93-4D02-9762-2806FD61807D}" type="sibTrans" cxnId="{AC3A974C-C77B-47E1-A0B3-B25186919459}">
      <dgm:prSet/>
      <dgm:spPr/>
      <dgm:t>
        <a:bodyPr/>
        <a:lstStyle/>
        <a:p>
          <a:endParaRPr lang="en-US"/>
        </a:p>
      </dgm:t>
    </dgm:pt>
    <dgm:pt modelId="{69BB6736-E14D-473E-923B-918B8D7E1083}">
      <dgm:prSet custT="1"/>
      <dgm:spPr/>
      <dgm:t>
        <a:bodyPr/>
        <a:lstStyle/>
        <a:p>
          <a:r>
            <a:rPr lang="en-US" sz="1600" b="1" dirty="0" smtClean="0"/>
            <a:t>442770: Technical Expense Reimbursement</a:t>
          </a:r>
        </a:p>
      </dgm:t>
    </dgm:pt>
    <dgm:pt modelId="{102B3125-7465-49E2-965F-9352685BA5E8}" type="parTrans" cxnId="{8149E113-DC28-4604-8AE9-192D343759AB}">
      <dgm:prSet/>
      <dgm:spPr/>
      <dgm:t>
        <a:bodyPr/>
        <a:lstStyle/>
        <a:p>
          <a:endParaRPr lang="en-US"/>
        </a:p>
      </dgm:t>
    </dgm:pt>
    <dgm:pt modelId="{5BF4B17A-0486-42EF-9240-508528481B2D}" type="sibTrans" cxnId="{8149E113-DC28-4604-8AE9-192D343759AB}">
      <dgm:prSet/>
      <dgm:spPr/>
      <dgm:t>
        <a:bodyPr/>
        <a:lstStyle/>
        <a:p>
          <a:endParaRPr lang="en-US"/>
        </a:p>
      </dgm:t>
    </dgm:pt>
    <dgm:pt modelId="{F8E1A3BB-83ED-4521-BF06-043604FD0A66}">
      <dgm:prSet/>
      <dgm:spPr/>
      <dgm:t>
        <a:bodyPr/>
        <a:lstStyle/>
        <a:p>
          <a:r>
            <a:rPr lang="en-US" b="0" dirty="0" smtClean="0"/>
            <a:t>Retained at central FP</a:t>
          </a:r>
          <a:endParaRPr lang="en-US" dirty="0"/>
        </a:p>
      </dgm:t>
    </dgm:pt>
    <dgm:pt modelId="{5F7B188C-52D3-456E-B66E-677A6BE93AF8}" type="parTrans" cxnId="{13E20C80-BD2B-4597-BC6B-B552370C8FEE}">
      <dgm:prSet/>
      <dgm:spPr/>
      <dgm:t>
        <a:bodyPr/>
        <a:lstStyle/>
        <a:p>
          <a:endParaRPr lang="en-US"/>
        </a:p>
      </dgm:t>
    </dgm:pt>
    <dgm:pt modelId="{8AACDF91-718E-4ABC-821E-5B587FDDDAAA}" type="sibTrans" cxnId="{13E20C80-BD2B-4597-BC6B-B552370C8FEE}">
      <dgm:prSet/>
      <dgm:spPr/>
      <dgm:t>
        <a:bodyPr/>
        <a:lstStyle/>
        <a:p>
          <a:endParaRPr lang="en-US"/>
        </a:p>
      </dgm:t>
    </dgm:pt>
    <dgm:pt modelId="{4F58BB57-F99C-4044-ACEF-D0A32B248774}">
      <dgm:prSet/>
      <dgm:spPr/>
      <dgm:t>
        <a:bodyPr/>
        <a:lstStyle/>
        <a:p>
          <a:r>
            <a:rPr lang="en-US" b="0" dirty="0" smtClean="0"/>
            <a:t>Full cost of providing technical services is reimbursed</a:t>
          </a:r>
          <a:endParaRPr lang="en-US" dirty="0"/>
        </a:p>
      </dgm:t>
    </dgm:pt>
    <dgm:pt modelId="{35A40DD8-C4DE-4F21-BDC0-26920407B4E9}" type="parTrans" cxnId="{06471F53-F098-46B9-B9EF-199CDA148EAA}">
      <dgm:prSet/>
      <dgm:spPr/>
      <dgm:t>
        <a:bodyPr/>
        <a:lstStyle/>
        <a:p>
          <a:endParaRPr lang="en-US"/>
        </a:p>
      </dgm:t>
    </dgm:pt>
    <dgm:pt modelId="{2D1781F2-1D9B-444D-8C62-FE7C1E25BE1C}" type="sibTrans" cxnId="{06471F53-F098-46B9-B9EF-199CDA148EAA}">
      <dgm:prSet/>
      <dgm:spPr/>
      <dgm:t>
        <a:bodyPr/>
        <a:lstStyle/>
        <a:p>
          <a:endParaRPr lang="en-US"/>
        </a:p>
      </dgm:t>
    </dgm:pt>
    <dgm:pt modelId="{D550206A-40FF-4543-A7A9-3B98B39AEEFC}">
      <dgm:prSet/>
      <dgm:spPr/>
      <dgm:t>
        <a:bodyPr/>
        <a:lstStyle/>
        <a:p>
          <a:r>
            <a:rPr lang="en-US" b="0" dirty="0" smtClean="0"/>
            <a:t>There is a set list of accounts to be reimbursed</a:t>
          </a:r>
          <a:endParaRPr lang="en-US" b="0" dirty="0"/>
        </a:p>
      </dgm:t>
    </dgm:pt>
    <dgm:pt modelId="{455D170C-AE39-4870-92F3-BB512D087FE8}" type="parTrans" cxnId="{8C01AB97-3ED4-4EEC-9B53-D766112B24B8}">
      <dgm:prSet/>
      <dgm:spPr/>
      <dgm:t>
        <a:bodyPr/>
        <a:lstStyle/>
        <a:p>
          <a:endParaRPr lang="en-US"/>
        </a:p>
      </dgm:t>
    </dgm:pt>
    <dgm:pt modelId="{F4995AAB-DC42-4EA0-83C5-13608821C75E}" type="sibTrans" cxnId="{8C01AB97-3ED4-4EEC-9B53-D766112B24B8}">
      <dgm:prSet/>
      <dgm:spPr/>
      <dgm:t>
        <a:bodyPr/>
        <a:lstStyle/>
        <a:p>
          <a:endParaRPr lang="en-US"/>
        </a:p>
      </dgm:t>
    </dgm:pt>
    <dgm:pt modelId="{867840DF-5CBC-4BCE-A9E1-C7126670CB48}">
      <dgm:prSet/>
      <dgm:spPr/>
      <dgm:t>
        <a:bodyPr/>
        <a:lstStyle/>
        <a:p>
          <a:r>
            <a:rPr lang="en-US" b="0" dirty="0" smtClean="0"/>
            <a:t>Clinical &amp; Rent Expenses (70%)</a:t>
          </a:r>
          <a:endParaRPr lang="en-US" b="0" dirty="0"/>
        </a:p>
      </dgm:t>
    </dgm:pt>
    <dgm:pt modelId="{B03EF016-B144-4946-8FCF-53C2A59C3FF1}" type="parTrans" cxnId="{9531BC04-9417-4AF8-B2D4-C2C3499821AF}">
      <dgm:prSet/>
      <dgm:spPr/>
      <dgm:t>
        <a:bodyPr/>
        <a:lstStyle/>
        <a:p>
          <a:endParaRPr lang="en-US"/>
        </a:p>
      </dgm:t>
    </dgm:pt>
    <dgm:pt modelId="{EC818268-E252-432D-9D82-C9E85039CBA8}" type="sibTrans" cxnId="{9531BC04-9417-4AF8-B2D4-C2C3499821AF}">
      <dgm:prSet/>
      <dgm:spPr/>
      <dgm:t>
        <a:bodyPr/>
        <a:lstStyle/>
        <a:p>
          <a:endParaRPr lang="en-US"/>
        </a:p>
      </dgm:t>
    </dgm:pt>
    <dgm:pt modelId="{07A9C3D9-7AD5-4C76-BBA2-DCB8BF476FDA}">
      <dgm:prSet/>
      <dgm:spPr/>
      <dgm:t>
        <a:bodyPr/>
        <a:lstStyle/>
        <a:p>
          <a:r>
            <a:rPr lang="en-US" b="1" dirty="0" smtClean="0"/>
            <a:t>442780: Funds Flow Adjustments</a:t>
          </a:r>
          <a:endParaRPr lang="en-US" b="1" dirty="0"/>
        </a:p>
      </dgm:t>
    </dgm:pt>
    <dgm:pt modelId="{1D7C0333-1272-4278-9CAA-8B30D05F112D}" type="parTrans" cxnId="{8FCDC33A-5923-4FCB-B291-A034A7E3F98B}">
      <dgm:prSet/>
      <dgm:spPr/>
      <dgm:t>
        <a:bodyPr/>
        <a:lstStyle/>
        <a:p>
          <a:endParaRPr lang="en-US"/>
        </a:p>
      </dgm:t>
    </dgm:pt>
    <dgm:pt modelId="{D2F4B4D2-6655-4BDD-9754-72D5174E1305}" type="sibTrans" cxnId="{8FCDC33A-5923-4FCB-B291-A034A7E3F98B}">
      <dgm:prSet/>
      <dgm:spPr/>
      <dgm:t>
        <a:bodyPr/>
        <a:lstStyle/>
        <a:p>
          <a:endParaRPr lang="en-US"/>
        </a:p>
      </dgm:t>
    </dgm:pt>
    <dgm:pt modelId="{4F8C129A-1C24-415C-B7DE-DD9BA2FCA480}">
      <dgm:prSet/>
      <dgm:spPr/>
      <dgm:t>
        <a:bodyPr/>
        <a:lstStyle/>
        <a:p>
          <a:r>
            <a:rPr lang="en-US" dirty="0" smtClean="0"/>
            <a:t>Out of cycle adjustments</a:t>
          </a:r>
          <a:endParaRPr lang="en-US" dirty="0"/>
        </a:p>
      </dgm:t>
    </dgm:pt>
    <dgm:pt modelId="{FD76D6B4-FC60-4078-8270-BB2AF994D40B}" type="parTrans" cxnId="{5357838B-FB39-4D0B-AF7E-E8CD95FF81A2}">
      <dgm:prSet/>
      <dgm:spPr/>
      <dgm:t>
        <a:bodyPr/>
        <a:lstStyle/>
        <a:p>
          <a:endParaRPr lang="en-US"/>
        </a:p>
      </dgm:t>
    </dgm:pt>
    <dgm:pt modelId="{A582F896-D05A-4230-A09F-51A57A1E7B7E}" type="sibTrans" cxnId="{5357838B-FB39-4D0B-AF7E-E8CD95FF81A2}">
      <dgm:prSet/>
      <dgm:spPr/>
      <dgm:t>
        <a:bodyPr/>
        <a:lstStyle/>
        <a:p>
          <a:endParaRPr lang="en-US"/>
        </a:p>
      </dgm:t>
    </dgm:pt>
    <dgm:pt modelId="{F0113537-3FD2-4430-938A-AF7D6D85A836}" type="pres">
      <dgm:prSet presAssocID="{128B689D-F9FF-4ACD-8415-9DFEB1311497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9BE58D6-E2C2-48F0-9727-1C39114D4E12}" type="pres">
      <dgm:prSet presAssocID="{DF1823C5-DA31-4338-84FF-3BCCF52EF8BA}" presName="parentLin" presStyleCnt="0"/>
      <dgm:spPr/>
      <dgm:t>
        <a:bodyPr/>
        <a:lstStyle/>
        <a:p>
          <a:endParaRPr lang="en-US"/>
        </a:p>
      </dgm:t>
    </dgm:pt>
    <dgm:pt modelId="{CE190ABA-EF44-40CC-83C8-5E60B90AFB8B}" type="pres">
      <dgm:prSet presAssocID="{DF1823C5-DA31-4338-84FF-3BCCF52EF8BA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35B3384F-2CB9-4A44-9351-E242E7095118}" type="pres">
      <dgm:prSet presAssocID="{DF1823C5-DA31-4338-84FF-3BCCF52EF8BA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5487097-99CE-4973-8200-FE21D1323AAC}" type="pres">
      <dgm:prSet presAssocID="{DF1823C5-DA31-4338-84FF-3BCCF52EF8BA}" presName="negativeSpace" presStyleCnt="0"/>
      <dgm:spPr/>
      <dgm:t>
        <a:bodyPr/>
        <a:lstStyle/>
        <a:p>
          <a:endParaRPr lang="en-US"/>
        </a:p>
      </dgm:t>
    </dgm:pt>
    <dgm:pt modelId="{0623D967-05A2-4E9B-B073-9650A32CF49A}" type="pres">
      <dgm:prSet presAssocID="{DF1823C5-DA31-4338-84FF-3BCCF52EF8BA}" presName="childText" presStyleLbl="conFgAcc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22C33FA-87BF-4672-990B-BDE30444ECA4}" type="pres">
      <dgm:prSet presAssocID="{8016C716-5625-4D37-BF6C-56765089E72D}" presName="spaceBetweenRectangles" presStyleCnt="0"/>
      <dgm:spPr/>
      <dgm:t>
        <a:bodyPr/>
        <a:lstStyle/>
        <a:p>
          <a:endParaRPr lang="en-US"/>
        </a:p>
      </dgm:t>
    </dgm:pt>
    <dgm:pt modelId="{DD9C6A3B-EB5C-45A6-AF5E-E043A6F94A8E}" type="pres">
      <dgm:prSet presAssocID="{ECFD6B90-73EF-47E7-BE98-E86707D45CDA}" presName="parentLin" presStyleCnt="0"/>
      <dgm:spPr/>
      <dgm:t>
        <a:bodyPr/>
        <a:lstStyle/>
        <a:p>
          <a:endParaRPr lang="en-US"/>
        </a:p>
      </dgm:t>
    </dgm:pt>
    <dgm:pt modelId="{70AE747B-CFC3-42EE-80C7-D7B282C483B2}" type="pres">
      <dgm:prSet presAssocID="{ECFD6B90-73EF-47E7-BE98-E86707D45CDA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C3F69CAA-790F-48C2-A11D-6689281B379B}" type="pres">
      <dgm:prSet presAssocID="{ECFD6B90-73EF-47E7-BE98-E86707D45CDA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DDFFE8F-97F7-4A40-B366-1667F4B80B94}" type="pres">
      <dgm:prSet presAssocID="{ECFD6B90-73EF-47E7-BE98-E86707D45CDA}" presName="negativeSpace" presStyleCnt="0"/>
      <dgm:spPr/>
      <dgm:t>
        <a:bodyPr/>
        <a:lstStyle/>
        <a:p>
          <a:endParaRPr lang="en-US"/>
        </a:p>
      </dgm:t>
    </dgm:pt>
    <dgm:pt modelId="{704036A8-A38A-445A-B282-255F872CA02C}" type="pres">
      <dgm:prSet presAssocID="{ECFD6B90-73EF-47E7-BE98-E86707D45CDA}" presName="childText" presStyleLbl="conFgAcc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816F31A-A9D3-4118-AC66-7F8D161A5FFD}" type="pres">
      <dgm:prSet presAssocID="{47063B80-B396-460B-939D-44DC2792F21E}" presName="spaceBetweenRectangles" presStyleCnt="0"/>
      <dgm:spPr/>
      <dgm:t>
        <a:bodyPr/>
        <a:lstStyle/>
        <a:p>
          <a:endParaRPr lang="en-US"/>
        </a:p>
      </dgm:t>
    </dgm:pt>
    <dgm:pt modelId="{41534C96-1E9A-4E56-B9B6-1BC517C0CD52}" type="pres">
      <dgm:prSet presAssocID="{69BB6736-E14D-473E-923B-918B8D7E1083}" presName="parentLin" presStyleCnt="0"/>
      <dgm:spPr/>
      <dgm:t>
        <a:bodyPr/>
        <a:lstStyle/>
        <a:p>
          <a:endParaRPr lang="en-US"/>
        </a:p>
      </dgm:t>
    </dgm:pt>
    <dgm:pt modelId="{986289D5-21E1-47A5-9969-AE5418882BDF}" type="pres">
      <dgm:prSet presAssocID="{69BB6736-E14D-473E-923B-918B8D7E1083}" presName="parentLeftMargin" presStyleLbl="node1" presStyleIdx="1" presStyleCnt="4"/>
      <dgm:spPr/>
      <dgm:t>
        <a:bodyPr/>
        <a:lstStyle/>
        <a:p>
          <a:endParaRPr lang="en-US"/>
        </a:p>
      </dgm:t>
    </dgm:pt>
    <dgm:pt modelId="{D2250362-D018-4449-A034-FAD1A18A71A1}" type="pres">
      <dgm:prSet presAssocID="{69BB6736-E14D-473E-923B-918B8D7E1083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5E24A73-8257-47B4-B739-D553507CDF03}" type="pres">
      <dgm:prSet presAssocID="{69BB6736-E14D-473E-923B-918B8D7E1083}" presName="negativeSpace" presStyleCnt="0"/>
      <dgm:spPr/>
      <dgm:t>
        <a:bodyPr/>
        <a:lstStyle/>
        <a:p>
          <a:endParaRPr lang="en-US"/>
        </a:p>
      </dgm:t>
    </dgm:pt>
    <dgm:pt modelId="{F86857ED-3067-4475-8FC8-F7D6193F0D0D}" type="pres">
      <dgm:prSet presAssocID="{69BB6736-E14D-473E-923B-918B8D7E1083}" presName="childText" presStyleLbl="conFgAcc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DAD086C-418D-4F67-B30D-D707431DB3B2}" type="pres">
      <dgm:prSet presAssocID="{5BF4B17A-0486-42EF-9240-508528481B2D}" presName="spaceBetweenRectangles" presStyleCnt="0"/>
      <dgm:spPr/>
    </dgm:pt>
    <dgm:pt modelId="{AA6B0243-473D-47B5-9582-F4C066F3997E}" type="pres">
      <dgm:prSet presAssocID="{07A9C3D9-7AD5-4C76-BBA2-DCB8BF476FDA}" presName="parentLin" presStyleCnt="0"/>
      <dgm:spPr/>
    </dgm:pt>
    <dgm:pt modelId="{39D106C7-65D7-4EEE-A04A-91BDD3E48D0F}" type="pres">
      <dgm:prSet presAssocID="{07A9C3D9-7AD5-4C76-BBA2-DCB8BF476FDA}" presName="parentLeftMargin" presStyleLbl="node1" presStyleIdx="2" presStyleCnt="4"/>
      <dgm:spPr/>
      <dgm:t>
        <a:bodyPr/>
        <a:lstStyle/>
        <a:p>
          <a:endParaRPr lang="en-US"/>
        </a:p>
      </dgm:t>
    </dgm:pt>
    <dgm:pt modelId="{A172F992-C582-4A0D-AECD-1F37E26B5C32}" type="pres">
      <dgm:prSet presAssocID="{07A9C3D9-7AD5-4C76-BBA2-DCB8BF476FDA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E95A0C-F1F6-48CD-A469-C95AC2AAFBA7}" type="pres">
      <dgm:prSet presAssocID="{07A9C3D9-7AD5-4C76-BBA2-DCB8BF476FDA}" presName="negativeSpace" presStyleCnt="0"/>
      <dgm:spPr/>
    </dgm:pt>
    <dgm:pt modelId="{88A0D2BC-D53D-4685-897A-B569081F1766}" type="pres">
      <dgm:prSet presAssocID="{07A9C3D9-7AD5-4C76-BBA2-DCB8BF476FDA}" presName="childText" presStyleLbl="conFgAcc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149E113-DC28-4604-8AE9-192D343759AB}" srcId="{128B689D-F9FF-4ACD-8415-9DFEB1311497}" destId="{69BB6736-E14D-473E-923B-918B8D7E1083}" srcOrd="2" destOrd="0" parTransId="{102B3125-7465-49E2-965F-9352685BA5E8}" sibTransId="{5BF4B17A-0486-42EF-9240-508528481B2D}"/>
    <dgm:cxn modelId="{22284B52-3BBE-4EB0-98E1-734A9FADA179}" type="presOf" srcId="{DF1823C5-DA31-4338-84FF-3BCCF52EF8BA}" destId="{35B3384F-2CB9-4A44-9351-E242E7095118}" srcOrd="1" destOrd="0" presId="urn:microsoft.com/office/officeart/2005/8/layout/list1"/>
    <dgm:cxn modelId="{669627C4-654C-4502-BDE3-6BCE9BC8D704}" type="presOf" srcId="{4F58BB57-F99C-4044-ACEF-D0A32B248774}" destId="{F86857ED-3067-4475-8FC8-F7D6193F0D0D}" srcOrd="0" destOrd="1" presId="urn:microsoft.com/office/officeart/2005/8/layout/list1"/>
    <dgm:cxn modelId="{8C01AB97-3ED4-4EEC-9B53-D766112B24B8}" srcId="{DF1823C5-DA31-4338-84FF-3BCCF52EF8BA}" destId="{D550206A-40FF-4543-A7A9-3B98B39AEEFC}" srcOrd="2" destOrd="0" parTransId="{455D170C-AE39-4870-92F3-BB512D087FE8}" sibTransId="{F4995AAB-DC42-4EA0-83C5-13608821C75E}"/>
    <dgm:cxn modelId="{13E20C80-BD2B-4597-BC6B-B552370C8FEE}" srcId="{69BB6736-E14D-473E-923B-918B8D7E1083}" destId="{F8E1A3BB-83ED-4521-BF06-043604FD0A66}" srcOrd="0" destOrd="0" parTransId="{5F7B188C-52D3-456E-B66E-677A6BE93AF8}" sibTransId="{8AACDF91-718E-4ABC-821E-5B587FDDDAAA}"/>
    <dgm:cxn modelId="{D1288057-2AD3-4A3D-9C7F-5D5149E90581}" srcId="{128B689D-F9FF-4ACD-8415-9DFEB1311497}" destId="{DF1823C5-DA31-4338-84FF-3BCCF52EF8BA}" srcOrd="0" destOrd="0" parTransId="{29348439-DB9A-45DF-9054-A244BD47DA61}" sibTransId="{8016C716-5625-4D37-BF6C-56765089E72D}"/>
    <dgm:cxn modelId="{CF940087-48B2-404A-8200-2917A1CF157D}" type="presOf" srcId="{07A9C3D9-7AD5-4C76-BBA2-DCB8BF476FDA}" destId="{A172F992-C582-4A0D-AECD-1F37E26B5C32}" srcOrd="1" destOrd="0" presId="urn:microsoft.com/office/officeart/2005/8/layout/list1"/>
    <dgm:cxn modelId="{EA83889C-D027-4E41-86CC-71785E10CC19}" type="presOf" srcId="{B3184653-1C33-466B-AC4A-E11C2942BD97}" destId="{0623D967-05A2-4E9B-B073-9650A32CF49A}" srcOrd="0" destOrd="1" presId="urn:microsoft.com/office/officeart/2005/8/layout/list1"/>
    <dgm:cxn modelId="{4D77C5D9-FD60-4329-8CA8-32F784B9AE27}" type="presOf" srcId="{ECFD6B90-73EF-47E7-BE98-E86707D45CDA}" destId="{C3F69CAA-790F-48C2-A11D-6689281B379B}" srcOrd="1" destOrd="0" presId="urn:microsoft.com/office/officeart/2005/8/layout/list1"/>
    <dgm:cxn modelId="{6D1D3927-1333-462D-8873-3FE91443B71A}" type="presOf" srcId="{69BB6736-E14D-473E-923B-918B8D7E1083}" destId="{D2250362-D018-4449-A034-FAD1A18A71A1}" srcOrd="1" destOrd="0" presId="urn:microsoft.com/office/officeart/2005/8/layout/list1"/>
    <dgm:cxn modelId="{8FCDC33A-5923-4FCB-B291-A034A7E3F98B}" srcId="{128B689D-F9FF-4ACD-8415-9DFEB1311497}" destId="{07A9C3D9-7AD5-4C76-BBA2-DCB8BF476FDA}" srcOrd="3" destOrd="0" parTransId="{1D7C0333-1272-4278-9CAA-8B30D05F112D}" sibTransId="{D2F4B4D2-6655-4BDD-9754-72D5174E1305}"/>
    <dgm:cxn modelId="{62CCE8E5-6E09-47C5-A23D-C488DB2BCA13}" type="presOf" srcId="{ECFD6B90-73EF-47E7-BE98-E86707D45CDA}" destId="{70AE747B-CFC3-42EE-80C7-D7B282C483B2}" srcOrd="0" destOrd="0" presId="urn:microsoft.com/office/officeart/2005/8/layout/list1"/>
    <dgm:cxn modelId="{C1234994-B518-419C-87D5-97D40B0CDDDA}" type="presOf" srcId="{5A252E32-2314-4FB2-86B1-9A21C442A884}" destId="{704036A8-A38A-445A-B282-255F872CA02C}" srcOrd="0" destOrd="0" presId="urn:microsoft.com/office/officeart/2005/8/layout/list1"/>
    <dgm:cxn modelId="{7C8402A9-BA41-4BD8-AC12-7E77FE4AC406}" type="presOf" srcId="{69BB6736-E14D-473E-923B-918B8D7E1083}" destId="{986289D5-21E1-47A5-9969-AE5418882BDF}" srcOrd="0" destOrd="0" presId="urn:microsoft.com/office/officeart/2005/8/layout/list1"/>
    <dgm:cxn modelId="{AC3A974C-C77B-47E1-A0B3-B25186919459}" srcId="{ECFD6B90-73EF-47E7-BE98-E86707D45CDA}" destId="{5A252E32-2314-4FB2-86B1-9A21C442A884}" srcOrd="0" destOrd="0" parTransId="{1EF353AE-85EA-4627-B8AA-854B9A2BCC46}" sibTransId="{DB4E9E55-2A93-4D02-9762-2806FD61807D}"/>
    <dgm:cxn modelId="{9387CCE0-3580-4A78-913E-03A3EC6121DB}" type="presOf" srcId="{DF1823C5-DA31-4338-84FF-3BCCF52EF8BA}" destId="{CE190ABA-EF44-40CC-83C8-5E60B90AFB8B}" srcOrd="0" destOrd="0" presId="urn:microsoft.com/office/officeart/2005/8/layout/list1"/>
    <dgm:cxn modelId="{14F2B20C-94EE-47D7-84A3-252241AB2AA1}" type="presOf" srcId="{867840DF-5CBC-4BCE-A9E1-C7126670CB48}" destId="{0623D967-05A2-4E9B-B073-9650A32CF49A}" srcOrd="0" destOrd="0" presId="urn:microsoft.com/office/officeart/2005/8/layout/list1"/>
    <dgm:cxn modelId="{D1012993-12E4-40CF-BA6A-F446DF57E138}" type="presOf" srcId="{07A9C3D9-7AD5-4C76-BBA2-DCB8BF476FDA}" destId="{39D106C7-65D7-4EEE-A04A-91BDD3E48D0F}" srcOrd="0" destOrd="0" presId="urn:microsoft.com/office/officeart/2005/8/layout/list1"/>
    <dgm:cxn modelId="{9531BC04-9417-4AF8-B2D4-C2C3499821AF}" srcId="{DF1823C5-DA31-4338-84FF-3BCCF52EF8BA}" destId="{867840DF-5CBC-4BCE-A9E1-C7126670CB48}" srcOrd="0" destOrd="0" parTransId="{B03EF016-B144-4946-8FCF-53C2A59C3FF1}" sibTransId="{EC818268-E252-432D-9D82-C9E85039CBA8}"/>
    <dgm:cxn modelId="{159A0501-3E58-4594-9C3D-07CDD2E1FD78}" srcId="{DF1823C5-DA31-4338-84FF-3BCCF52EF8BA}" destId="{B3184653-1C33-466B-AC4A-E11C2942BD97}" srcOrd="1" destOrd="0" parTransId="{9B77C582-132F-4E94-BB67-77CDDA98C4A9}" sibTransId="{867E424B-4FA1-42AA-85F5-48F2C064373D}"/>
    <dgm:cxn modelId="{A817BEAE-B26D-4179-BB1F-1975E9A17A09}" type="presOf" srcId="{F8E1A3BB-83ED-4521-BF06-043604FD0A66}" destId="{F86857ED-3067-4475-8FC8-F7D6193F0D0D}" srcOrd="0" destOrd="0" presId="urn:microsoft.com/office/officeart/2005/8/layout/list1"/>
    <dgm:cxn modelId="{5357838B-FB39-4D0B-AF7E-E8CD95FF81A2}" srcId="{07A9C3D9-7AD5-4C76-BBA2-DCB8BF476FDA}" destId="{4F8C129A-1C24-415C-B7DE-DD9BA2FCA480}" srcOrd="0" destOrd="0" parTransId="{FD76D6B4-FC60-4078-8270-BB2AF994D40B}" sibTransId="{A582F896-D05A-4230-A09F-51A57A1E7B7E}"/>
    <dgm:cxn modelId="{173AEE1E-CD09-4B7B-8E8E-BEBCCC40D024}" srcId="{128B689D-F9FF-4ACD-8415-9DFEB1311497}" destId="{ECFD6B90-73EF-47E7-BE98-E86707D45CDA}" srcOrd="1" destOrd="0" parTransId="{28B4240D-ACCB-4255-B966-D0824136CB01}" sibTransId="{47063B80-B396-460B-939D-44DC2792F21E}"/>
    <dgm:cxn modelId="{06471F53-F098-46B9-B9EF-199CDA148EAA}" srcId="{69BB6736-E14D-473E-923B-918B8D7E1083}" destId="{4F58BB57-F99C-4044-ACEF-D0A32B248774}" srcOrd="1" destOrd="0" parTransId="{35A40DD8-C4DE-4F21-BDC0-26920407B4E9}" sibTransId="{2D1781F2-1D9B-444D-8C62-FE7C1E25BE1C}"/>
    <dgm:cxn modelId="{AE38FB5F-D43F-4261-A4AF-76CA82CE5D8B}" type="presOf" srcId="{128B689D-F9FF-4ACD-8415-9DFEB1311497}" destId="{F0113537-3FD2-4430-938A-AF7D6D85A836}" srcOrd="0" destOrd="0" presId="urn:microsoft.com/office/officeart/2005/8/layout/list1"/>
    <dgm:cxn modelId="{B1E29832-C80B-4103-8B45-7931D5EE9689}" type="presOf" srcId="{4F8C129A-1C24-415C-B7DE-DD9BA2FCA480}" destId="{88A0D2BC-D53D-4685-897A-B569081F1766}" srcOrd="0" destOrd="0" presId="urn:microsoft.com/office/officeart/2005/8/layout/list1"/>
    <dgm:cxn modelId="{C84CE1DD-C5B2-4961-AA0F-D7A77EC289BB}" type="presOf" srcId="{D550206A-40FF-4543-A7A9-3B98B39AEEFC}" destId="{0623D967-05A2-4E9B-B073-9650A32CF49A}" srcOrd="0" destOrd="2" presId="urn:microsoft.com/office/officeart/2005/8/layout/list1"/>
    <dgm:cxn modelId="{2E234824-6DCA-416B-87C9-29EC4A3CBF4E}" type="presParOf" srcId="{F0113537-3FD2-4430-938A-AF7D6D85A836}" destId="{F9BE58D6-E2C2-48F0-9727-1C39114D4E12}" srcOrd="0" destOrd="0" presId="urn:microsoft.com/office/officeart/2005/8/layout/list1"/>
    <dgm:cxn modelId="{C3A42867-91C6-4947-8E7C-F5D90C4342BD}" type="presParOf" srcId="{F9BE58D6-E2C2-48F0-9727-1C39114D4E12}" destId="{CE190ABA-EF44-40CC-83C8-5E60B90AFB8B}" srcOrd="0" destOrd="0" presId="urn:microsoft.com/office/officeart/2005/8/layout/list1"/>
    <dgm:cxn modelId="{669CE859-67D9-432F-BB1E-1AB6AF3DE7AE}" type="presParOf" srcId="{F9BE58D6-E2C2-48F0-9727-1C39114D4E12}" destId="{35B3384F-2CB9-4A44-9351-E242E7095118}" srcOrd="1" destOrd="0" presId="urn:microsoft.com/office/officeart/2005/8/layout/list1"/>
    <dgm:cxn modelId="{80E5BE55-EBFD-4C28-83B2-CE73D9E7E906}" type="presParOf" srcId="{F0113537-3FD2-4430-938A-AF7D6D85A836}" destId="{C5487097-99CE-4973-8200-FE21D1323AAC}" srcOrd="1" destOrd="0" presId="urn:microsoft.com/office/officeart/2005/8/layout/list1"/>
    <dgm:cxn modelId="{D8A8ADAC-85AE-44EF-A0B6-D61BA3050E18}" type="presParOf" srcId="{F0113537-3FD2-4430-938A-AF7D6D85A836}" destId="{0623D967-05A2-4E9B-B073-9650A32CF49A}" srcOrd="2" destOrd="0" presId="urn:microsoft.com/office/officeart/2005/8/layout/list1"/>
    <dgm:cxn modelId="{CFD9888C-011D-499C-9651-2F9B274F0345}" type="presParOf" srcId="{F0113537-3FD2-4430-938A-AF7D6D85A836}" destId="{A22C33FA-87BF-4672-990B-BDE30444ECA4}" srcOrd="3" destOrd="0" presId="urn:microsoft.com/office/officeart/2005/8/layout/list1"/>
    <dgm:cxn modelId="{A6EE7CA1-5C1B-4360-8144-95BB0C6B8996}" type="presParOf" srcId="{F0113537-3FD2-4430-938A-AF7D6D85A836}" destId="{DD9C6A3B-EB5C-45A6-AF5E-E043A6F94A8E}" srcOrd="4" destOrd="0" presId="urn:microsoft.com/office/officeart/2005/8/layout/list1"/>
    <dgm:cxn modelId="{C162BDA0-35E9-40F9-82D0-1F25BE3BBF68}" type="presParOf" srcId="{DD9C6A3B-EB5C-45A6-AF5E-E043A6F94A8E}" destId="{70AE747B-CFC3-42EE-80C7-D7B282C483B2}" srcOrd="0" destOrd="0" presId="urn:microsoft.com/office/officeart/2005/8/layout/list1"/>
    <dgm:cxn modelId="{96BB5D50-64E3-4744-AE94-C911B4BA95FA}" type="presParOf" srcId="{DD9C6A3B-EB5C-45A6-AF5E-E043A6F94A8E}" destId="{C3F69CAA-790F-48C2-A11D-6689281B379B}" srcOrd="1" destOrd="0" presId="urn:microsoft.com/office/officeart/2005/8/layout/list1"/>
    <dgm:cxn modelId="{8662C9EF-08B0-4376-9A14-23CFBC57395B}" type="presParOf" srcId="{F0113537-3FD2-4430-938A-AF7D6D85A836}" destId="{ADDFFE8F-97F7-4A40-B366-1667F4B80B94}" srcOrd="5" destOrd="0" presId="urn:microsoft.com/office/officeart/2005/8/layout/list1"/>
    <dgm:cxn modelId="{37423A79-E373-445E-B8F4-EF66BA968DE0}" type="presParOf" srcId="{F0113537-3FD2-4430-938A-AF7D6D85A836}" destId="{704036A8-A38A-445A-B282-255F872CA02C}" srcOrd="6" destOrd="0" presId="urn:microsoft.com/office/officeart/2005/8/layout/list1"/>
    <dgm:cxn modelId="{25775FD2-DC67-493A-A3D8-C1691ACA315C}" type="presParOf" srcId="{F0113537-3FD2-4430-938A-AF7D6D85A836}" destId="{C816F31A-A9D3-4118-AC66-7F8D161A5FFD}" srcOrd="7" destOrd="0" presId="urn:microsoft.com/office/officeart/2005/8/layout/list1"/>
    <dgm:cxn modelId="{40B1E42F-5200-439F-852E-375FE3A31A5D}" type="presParOf" srcId="{F0113537-3FD2-4430-938A-AF7D6D85A836}" destId="{41534C96-1E9A-4E56-B9B6-1BC517C0CD52}" srcOrd="8" destOrd="0" presId="urn:microsoft.com/office/officeart/2005/8/layout/list1"/>
    <dgm:cxn modelId="{A13C495A-4A4E-4A6A-B99D-2F688A54871C}" type="presParOf" srcId="{41534C96-1E9A-4E56-B9B6-1BC517C0CD52}" destId="{986289D5-21E1-47A5-9969-AE5418882BDF}" srcOrd="0" destOrd="0" presId="urn:microsoft.com/office/officeart/2005/8/layout/list1"/>
    <dgm:cxn modelId="{AAEF1ECE-F799-4D87-8677-ACB5CF6DE32C}" type="presParOf" srcId="{41534C96-1E9A-4E56-B9B6-1BC517C0CD52}" destId="{D2250362-D018-4449-A034-FAD1A18A71A1}" srcOrd="1" destOrd="0" presId="urn:microsoft.com/office/officeart/2005/8/layout/list1"/>
    <dgm:cxn modelId="{4456E894-6E84-4B25-9D71-64888A07D991}" type="presParOf" srcId="{F0113537-3FD2-4430-938A-AF7D6D85A836}" destId="{D5E24A73-8257-47B4-B739-D553507CDF03}" srcOrd="9" destOrd="0" presId="urn:microsoft.com/office/officeart/2005/8/layout/list1"/>
    <dgm:cxn modelId="{767F6354-8FB7-4221-8D0C-43E4046F3D80}" type="presParOf" srcId="{F0113537-3FD2-4430-938A-AF7D6D85A836}" destId="{F86857ED-3067-4475-8FC8-F7D6193F0D0D}" srcOrd="10" destOrd="0" presId="urn:microsoft.com/office/officeart/2005/8/layout/list1"/>
    <dgm:cxn modelId="{EB7206FE-A6D3-4D7D-B9DA-9008FDA9AD26}" type="presParOf" srcId="{F0113537-3FD2-4430-938A-AF7D6D85A836}" destId="{FDAD086C-418D-4F67-B30D-D707431DB3B2}" srcOrd="11" destOrd="0" presId="urn:microsoft.com/office/officeart/2005/8/layout/list1"/>
    <dgm:cxn modelId="{C6EEEF3C-DBE4-4E19-9FD5-97BFAA6D3397}" type="presParOf" srcId="{F0113537-3FD2-4430-938A-AF7D6D85A836}" destId="{AA6B0243-473D-47B5-9582-F4C066F3997E}" srcOrd="12" destOrd="0" presId="urn:microsoft.com/office/officeart/2005/8/layout/list1"/>
    <dgm:cxn modelId="{824A8352-EE69-47EC-81C3-FE1C3399B3EF}" type="presParOf" srcId="{AA6B0243-473D-47B5-9582-F4C066F3997E}" destId="{39D106C7-65D7-4EEE-A04A-91BDD3E48D0F}" srcOrd="0" destOrd="0" presId="urn:microsoft.com/office/officeart/2005/8/layout/list1"/>
    <dgm:cxn modelId="{64660E4C-9133-4D4C-96EB-B150604228E5}" type="presParOf" srcId="{AA6B0243-473D-47B5-9582-F4C066F3997E}" destId="{A172F992-C582-4A0D-AECD-1F37E26B5C32}" srcOrd="1" destOrd="0" presId="urn:microsoft.com/office/officeart/2005/8/layout/list1"/>
    <dgm:cxn modelId="{6EDCBB96-5B51-4D0D-B7BF-6CA5F01E2B58}" type="presParOf" srcId="{F0113537-3FD2-4430-938A-AF7D6D85A836}" destId="{39E95A0C-F1F6-48CD-A469-C95AC2AAFBA7}" srcOrd="13" destOrd="0" presId="urn:microsoft.com/office/officeart/2005/8/layout/list1"/>
    <dgm:cxn modelId="{BA61B3ED-7163-4C21-B3D4-3A8DD1C3EA01}" type="presParOf" srcId="{F0113537-3FD2-4430-938A-AF7D6D85A836}" destId="{88A0D2BC-D53D-4685-897A-B569081F1766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4010D7-66DD-4B34-BC02-0FCE06E00D3C}">
      <dsp:nvSpPr>
        <dsp:cNvPr id="0" name=""/>
        <dsp:cNvSpPr/>
      </dsp:nvSpPr>
      <dsp:spPr>
        <a:xfrm>
          <a:off x="0" y="386612"/>
          <a:ext cx="8686800" cy="2205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74192" tIns="520700" rIns="674192" bIns="177800" numCol="1" spcCol="1270" anchor="t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500" kern="1200" dirty="0" smtClean="0"/>
            <a:t>FF Accounts</a:t>
          </a:r>
          <a:endParaRPr lang="en-US" sz="2500" kern="1200" dirty="0"/>
        </a:p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500" kern="1200" dirty="0" smtClean="0"/>
            <a:t>FF Qualifications</a:t>
          </a:r>
          <a:endParaRPr lang="en-US" sz="2500" kern="1200" dirty="0"/>
        </a:p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500" kern="1200" dirty="0" smtClean="0"/>
            <a:t>FF Calculations/SAS Reports</a:t>
          </a:r>
          <a:endParaRPr lang="en-US" sz="2500" kern="1200" dirty="0"/>
        </a:p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500" kern="1200" dirty="0" smtClean="0"/>
            <a:t>GME</a:t>
          </a:r>
          <a:endParaRPr lang="en-US" sz="2500" kern="1200" dirty="0"/>
        </a:p>
      </dsp:txBody>
      <dsp:txXfrm>
        <a:off x="0" y="386612"/>
        <a:ext cx="8686800" cy="2205000"/>
      </dsp:txXfrm>
    </dsp:sp>
    <dsp:sp modelId="{1696E541-0412-4838-9E27-849844A2A281}">
      <dsp:nvSpPr>
        <dsp:cNvPr id="0" name=""/>
        <dsp:cNvSpPr/>
      </dsp:nvSpPr>
      <dsp:spPr>
        <a:xfrm>
          <a:off x="434340" y="17612"/>
          <a:ext cx="608076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9838" tIns="0" rIns="229838" bIns="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Review</a:t>
          </a:r>
          <a:endParaRPr lang="en-US" sz="2500" kern="1200" dirty="0"/>
        </a:p>
      </dsp:txBody>
      <dsp:txXfrm>
        <a:off x="470366" y="53638"/>
        <a:ext cx="6008708" cy="665948"/>
      </dsp:txXfrm>
    </dsp:sp>
    <dsp:sp modelId="{617F476A-8CAD-4E74-887A-2B3C05EB5115}">
      <dsp:nvSpPr>
        <dsp:cNvPr id="0" name=""/>
        <dsp:cNvSpPr/>
      </dsp:nvSpPr>
      <dsp:spPr>
        <a:xfrm>
          <a:off x="0" y="3095612"/>
          <a:ext cx="8686800" cy="1417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74192" tIns="520700" rIns="674192" bIns="177800" numCol="1" spcCol="1270" anchor="t" anchorCtr="0">
          <a:noAutofit/>
        </a:bodyPr>
        <a:lstStyle/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500" kern="1200" dirty="0" smtClean="0"/>
            <a:t>FF Educations</a:t>
          </a:r>
          <a:endParaRPr lang="en-US" sz="2500" kern="1200" dirty="0"/>
        </a:p>
        <a:p>
          <a:pPr marL="228600" lvl="1" indent="-228600" algn="l" defTabSz="1111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500" kern="1200" dirty="0" smtClean="0"/>
            <a:t>Website</a:t>
          </a:r>
          <a:endParaRPr lang="en-US" sz="2500" kern="1200" dirty="0"/>
        </a:p>
      </dsp:txBody>
      <dsp:txXfrm>
        <a:off x="0" y="3095612"/>
        <a:ext cx="8686800" cy="1417500"/>
      </dsp:txXfrm>
    </dsp:sp>
    <dsp:sp modelId="{A3DB0AFD-B9D9-431A-903C-ACDA2609E500}">
      <dsp:nvSpPr>
        <dsp:cNvPr id="0" name=""/>
        <dsp:cNvSpPr/>
      </dsp:nvSpPr>
      <dsp:spPr>
        <a:xfrm>
          <a:off x="434340" y="2726612"/>
          <a:ext cx="6080760" cy="7380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9838" tIns="0" rIns="229838" bIns="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Resources</a:t>
          </a:r>
          <a:endParaRPr lang="en-US" sz="2500" kern="1200" dirty="0"/>
        </a:p>
      </dsp:txBody>
      <dsp:txXfrm>
        <a:off x="470366" y="2762638"/>
        <a:ext cx="6008708" cy="6659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C8CB7F-2487-494D-B3A0-5D77A4A47CD6}">
      <dsp:nvSpPr>
        <dsp:cNvPr id="0" name=""/>
        <dsp:cNvSpPr/>
      </dsp:nvSpPr>
      <dsp:spPr>
        <a:xfrm>
          <a:off x="0" y="204476"/>
          <a:ext cx="3676521" cy="7166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339" tIns="270764" rIns="285339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MD Allocation - </a:t>
          </a:r>
          <a:r>
            <a:rPr lang="en-US" sz="1300" kern="1200" dirty="0" err="1" smtClean="0"/>
            <a:t>wRVU</a:t>
          </a:r>
          <a:r>
            <a:rPr lang="en-US" sz="1300" kern="1200" dirty="0" smtClean="0"/>
            <a:t>/ASA Productivity Reimbursement</a:t>
          </a:r>
          <a:endParaRPr lang="en-US" sz="1300" kern="1200" dirty="0"/>
        </a:p>
      </dsp:txBody>
      <dsp:txXfrm>
        <a:off x="0" y="204476"/>
        <a:ext cx="3676521" cy="716625"/>
      </dsp:txXfrm>
    </dsp:sp>
    <dsp:sp modelId="{8E054E5B-A0DE-4585-92CC-B0DDDE5FDFA3}">
      <dsp:nvSpPr>
        <dsp:cNvPr id="0" name=""/>
        <dsp:cNvSpPr/>
      </dsp:nvSpPr>
      <dsp:spPr>
        <a:xfrm>
          <a:off x="183826" y="12596"/>
          <a:ext cx="2573564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7275" tIns="0" rIns="97275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442710</a:t>
          </a:r>
          <a:endParaRPr lang="en-US" sz="1300" kern="1200" dirty="0"/>
        </a:p>
      </dsp:txBody>
      <dsp:txXfrm>
        <a:off x="202560" y="31330"/>
        <a:ext cx="2536096" cy="346292"/>
      </dsp:txXfrm>
    </dsp:sp>
    <dsp:sp modelId="{C65156F9-BB8A-44F0-96A2-AC3521F5576F}">
      <dsp:nvSpPr>
        <dsp:cNvPr id="0" name=""/>
        <dsp:cNvSpPr/>
      </dsp:nvSpPr>
      <dsp:spPr>
        <a:xfrm>
          <a:off x="0" y="1183181"/>
          <a:ext cx="3676521" cy="7166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339" tIns="270764" rIns="285339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Non MD Allocation - UPL and Net Receipts</a:t>
          </a:r>
          <a:endParaRPr lang="en-US" sz="1300" kern="1200" dirty="0"/>
        </a:p>
      </dsp:txBody>
      <dsp:txXfrm>
        <a:off x="0" y="1183181"/>
        <a:ext cx="3676521" cy="716625"/>
      </dsp:txXfrm>
    </dsp:sp>
    <dsp:sp modelId="{F35C931C-9D7B-41F2-A6F2-AE70A2591888}">
      <dsp:nvSpPr>
        <dsp:cNvPr id="0" name=""/>
        <dsp:cNvSpPr/>
      </dsp:nvSpPr>
      <dsp:spPr>
        <a:xfrm>
          <a:off x="183826" y="991301"/>
          <a:ext cx="2573564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7275" tIns="0" rIns="97275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442720</a:t>
          </a:r>
          <a:endParaRPr lang="en-US" sz="1300" kern="1200" dirty="0"/>
        </a:p>
      </dsp:txBody>
      <dsp:txXfrm>
        <a:off x="202560" y="1010035"/>
        <a:ext cx="2536096" cy="346292"/>
      </dsp:txXfrm>
    </dsp:sp>
    <dsp:sp modelId="{3244E74C-EA22-4D2B-AED2-13642DB6F71A}">
      <dsp:nvSpPr>
        <dsp:cNvPr id="0" name=""/>
        <dsp:cNvSpPr/>
      </dsp:nvSpPr>
      <dsp:spPr>
        <a:xfrm>
          <a:off x="0" y="2161886"/>
          <a:ext cx="3676521" cy="54258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339" tIns="270764" rIns="285339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Benefits</a:t>
          </a:r>
          <a:endParaRPr lang="en-US" sz="1300" kern="1200" dirty="0"/>
        </a:p>
      </dsp:txBody>
      <dsp:txXfrm>
        <a:off x="0" y="2161886"/>
        <a:ext cx="3676521" cy="542587"/>
      </dsp:txXfrm>
    </dsp:sp>
    <dsp:sp modelId="{2BCB0D37-A1DF-4E97-B747-7A7BC8339F67}">
      <dsp:nvSpPr>
        <dsp:cNvPr id="0" name=""/>
        <dsp:cNvSpPr/>
      </dsp:nvSpPr>
      <dsp:spPr>
        <a:xfrm>
          <a:off x="183826" y="1970006"/>
          <a:ext cx="2573564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7275" tIns="0" rIns="97275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442730</a:t>
          </a:r>
          <a:endParaRPr lang="en-US" sz="1300" kern="1200" dirty="0"/>
        </a:p>
      </dsp:txBody>
      <dsp:txXfrm>
        <a:off x="202560" y="1988740"/>
        <a:ext cx="2536096" cy="346292"/>
      </dsp:txXfrm>
    </dsp:sp>
    <dsp:sp modelId="{1D1219A6-1B20-45A6-B213-CBBF3E68E02D}">
      <dsp:nvSpPr>
        <dsp:cNvPr id="0" name=""/>
        <dsp:cNvSpPr/>
      </dsp:nvSpPr>
      <dsp:spPr>
        <a:xfrm>
          <a:off x="0" y="2966554"/>
          <a:ext cx="3676521" cy="54258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339" tIns="270764" rIns="285339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Overhead</a:t>
          </a:r>
          <a:endParaRPr lang="en-US" sz="1300" kern="1200" dirty="0"/>
        </a:p>
      </dsp:txBody>
      <dsp:txXfrm>
        <a:off x="0" y="2966554"/>
        <a:ext cx="3676521" cy="542587"/>
      </dsp:txXfrm>
    </dsp:sp>
    <dsp:sp modelId="{6D6E8E80-3332-4D8C-A218-20547AB573D6}">
      <dsp:nvSpPr>
        <dsp:cNvPr id="0" name=""/>
        <dsp:cNvSpPr/>
      </dsp:nvSpPr>
      <dsp:spPr>
        <a:xfrm>
          <a:off x="183826" y="2774674"/>
          <a:ext cx="2573564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7275" tIns="0" rIns="97275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442740</a:t>
          </a:r>
          <a:endParaRPr lang="en-US" sz="1300" kern="1200" dirty="0"/>
        </a:p>
      </dsp:txBody>
      <dsp:txXfrm>
        <a:off x="202560" y="2793408"/>
        <a:ext cx="2536096" cy="34629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0CFBF81-2C30-4A7E-8204-6F5C71187D08}">
      <dsp:nvSpPr>
        <dsp:cNvPr id="0" name=""/>
        <dsp:cNvSpPr/>
      </dsp:nvSpPr>
      <dsp:spPr>
        <a:xfrm>
          <a:off x="0" y="304148"/>
          <a:ext cx="3676521" cy="54258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339" tIns="270764" rIns="285339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kern="1200" dirty="0" smtClean="0"/>
            <a:t>Clinic Expense/</a:t>
          </a:r>
          <a:r>
            <a:rPr lang="fr-FR" sz="1300" kern="1200" dirty="0" err="1" smtClean="0"/>
            <a:t>Rent</a:t>
          </a:r>
          <a:r>
            <a:rPr lang="fr-FR" sz="1300" kern="1200" dirty="0" smtClean="0"/>
            <a:t> Expense - 70%</a:t>
          </a:r>
          <a:endParaRPr lang="fr-FR" sz="1300" kern="1200" dirty="0"/>
        </a:p>
      </dsp:txBody>
      <dsp:txXfrm>
        <a:off x="0" y="304148"/>
        <a:ext cx="3676521" cy="542587"/>
      </dsp:txXfrm>
    </dsp:sp>
    <dsp:sp modelId="{4B6A6448-FF3F-42BD-A95D-EC67D5DF97FF}">
      <dsp:nvSpPr>
        <dsp:cNvPr id="0" name=""/>
        <dsp:cNvSpPr/>
      </dsp:nvSpPr>
      <dsp:spPr>
        <a:xfrm>
          <a:off x="183826" y="1790"/>
          <a:ext cx="2573564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7275" tIns="0" rIns="97275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kern="1200" dirty="0" smtClean="0"/>
            <a:t>442750</a:t>
          </a:r>
          <a:endParaRPr lang="fr-FR" sz="1300" kern="1200" dirty="0"/>
        </a:p>
      </dsp:txBody>
      <dsp:txXfrm>
        <a:off x="202560" y="20524"/>
        <a:ext cx="2536096" cy="346292"/>
      </dsp:txXfrm>
    </dsp:sp>
    <dsp:sp modelId="{082C94F5-1E69-4899-B2FA-92FA48ADDFBD}">
      <dsp:nvSpPr>
        <dsp:cNvPr id="0" name=""/>
        <dsp:cNvSpPr/>
      </dsp:nvSpPr>
      <dsp:spPr>
        <a:xfrm>
          <a:off x="0" y="1095356"/>
          <a:ext cx="3676521" cy="7166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339" tIns="270764" rIns="285339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fr-FR" sz="1300" kern="1200" dirty="0" smtClean="0"/>
            <a:t>Drug Expense - 100%</a:t>
          </a:r>
          <a:br>
            <a:rPr lang="fr-FR" sz="1300" kern="1200" dirty="0" smtClean="0"/>
          </a:br>
          <a:endParaRPr lang="fr-FR" sz="1300" kern="1200" dirty="0"/>
        </a:p>
      </dsp:txBody>
      <dsp:txXfrm>
        <a:off x="0" y="1095356"/>
        <a:ext cx="3676521" cy="716625"/>
      </dsp:txXfrm>
    </dsp:sp>
    <dsp:sp modelId="{7082FDD5-A18E-4A1E-BEF3-EA9B92344DED}">
      <dsp:nvSpPr>
        <dsp:cNvPr id="0" name=""/>
        <dsp:cNvSpPr/>
      </dsp:nvSpPr>
      <dsp:spPr>
        <a:xfrm>
          <a:off x="183826" y="903476"/>
          <a:ext cx="2573564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7275" tIns="0" rIns="97275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kern="1200" dirty="0" smtClean="0"/>
            <a:t>442760</a:t>
          </a:r>
          <a:endParaRPr lang="fr-FR" sz="1300" kern="1200" dirty="0"/>
        </a:p>
      </dsp:txBody>
      <dsp:txXfrm>
        <a:off x="202560" y="922210"/>
        <a:ext cx="2536096" cy="346292"/>
      </dsp:txXfrm>
    </dsp:sp>
    <dsp:sp modelId="{ABA35EAE-8B51-4DF4-9E53-3E1C5614AD8E}">
      <dsp:nvSpPr>
        <dsp:cNvPr id="0" name=""/>
        <dsp:cNvSpPr/>
      </dsp:nvSpPr>
      <dsp:spPr>
        <a:xfrm>
          <a:off x="0" y="2074867"/>
          <a:ext cx="3676521" cy="54258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339" tIns="270764" rIns="285339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Technical</a:t>
          </a:r>
          <a:endParaRPr lang="fr-FR" sz="1300" kern="1200" dirty="0"/>
        </a:p>
      </dsp:txBody>
      <dsp:txXfrm>
        <a:off x="0" y="2074867"/>
        <a:ext cx="3676521" cy="542587"/>
      </dsp:txXfrm>
    </dsp:sp>
    <dsp:sp modelId="{BD16FB7D-CB8C-4156-9D51-60C398EDF7EA}">
      <dsp:nvSpPr>
        <dsp:cNvPr id="0" name=""/>
        <dsp:cNvSpPr/>
      </dsp:nvSpPr>
      <dsp:spPr>
        <a:xfrm>
          <a:off x="183826" y="1882987"/>
          <a:ext cx="2573564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7275" tIns="0" rIns="97275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442770</a:t>
          </a:r>
          <a:endParaRPr lang="fr-FR" sz="1300" kern="1200" dirty="0"/>
        </a:p>
      </dsp:txBody>
      <dsp:txXfrm>
        <a:off x="202560" y="1901721"/>
        <a:ext cx="2536096" cy="346292"/>
      </dsp:txXfrm>
    </dsp:sp>
    <dsp:sp modelId="{20716131-A96E-4855-896A-D278FA2EA77A}">
      <dsp:nvSpPr>
        <dsp:cNvPr id="0" name=""/>
        <dsp:cNvSpPr/>
      </dsp:nvSpPr>
      <dsp:spPr>
        <a:xfrm>
          <a:off x="0" y="2879535"/>
          <a:ext cx="3676521" cy="54258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5339" tIns="270764" rIns="285339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Adjustments</a:t>
          </a:r>
          <a:endParaRPr lang="fr-FR" sz="1300" kern="1200" dirty="0"/>
        </a:p>
      </dsp:txBody>
      <dsp:txXfrm>
        <a:off x="0" y="2879535"/>
        <a:ext cx="3676521" cy="542587"/>
      </dsp:txXfrm>
    </dsp:sp>
    <dsp:sp modelId="{0196ABF7-E6F8-4F2A-A241-8D89EFA3FA1D}">
      <dsp:nvSpPr>
        <dsp:cNvPr id="0" name=""/>
        <dsp:cNvSpPr/>
      </dsp:nvSpPr>
      <dsp:spPr>
        <a:xfrm>
          <a:off x="183826" y="2687655"/>
          <a:ext cx="2573564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7275" tIns="0" rIns="97275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 smtClean="0"/>
            <a:t>442780</a:t>
          </a:r>
          <a:endParaRPr lang="fr-FR" sz="1300" kern="1200" dirty="0"/>
        </a:p>
      </dsp:txBody>
      <dsp:txXfrm>
        <a:off x="202560" y="2706389"/>
        <a:ext cx="2536096" cy="34629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23D967-05A2-4E9B-B073-9650A32CF49A}">
      <dsp:nvSpPr>
        <dsp:cNvPr id="0" name=""/>
        <dsp:cNvSpPr/>
      </dsp:nvSpPr>
      <dsp:spPr>
        <a:xfrm>
          <a:off x="0" y="328764"/>
          <a:ext cx="8686800" cy="1360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74192" tIns="333248" rIns="674192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b="0" kern="1200" dirty="0" smtClean="0"/>
            <a:t>Clinical &amp; Rent Expenses (70%)</a:t>
          </a:r>
          <a:endParaRPr lang="en-US" sz="1600" b="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b="0" kern="1200" dirty="0" smtClean="0"/>
            <a:t>Not including APPs, malpractice, and scribes which will continue to be paid by the departments</a:t>
          </a:r>
          <a:endParaRPr lang="en-US" sz="1600" b="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b="0" kern="1200" dirty="0" smtClean="0"/>
            <a:t>There is a set list of accounts to be reimbursed</a:t>
          </a:r>
          <a:endParaRPr lang="en-US" sz="1600" b="0" kern="1200" dirty="0"/>
        </a:p>
      </dsp:txBody>
      <dsp:txXfrm>
        <a:off x="0" y="328764"/>
        <a:ext cx="8686800" cy="1360800"/>
      </dsp:txXfrm>
    </dsp:sp>
    <dsp:sp modelId="{35B3384F-2CB9-4A44-9351-E242E7095118}">
      <dsp:nvSpPr>
        <dsp:cNvPr id="0" name=""/>
        <dsp:cNvSpPr/>
      </dsp:nvSpPr>
      <dsp:spPr>
        <a:xfrm>
          <a:off x="434340" y="92604"/>
          <a:ext cx="6080760" cy="472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9838" tIns="0" rIns="229838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442750: Clinic/Rent Expense</a:t>
          </a:r>
          <a:endParaRPr lang="en-US" sz="1600" b="1" kern="1200" dirty="0"/>
        </a:p>
      </dsp:txBody>
      <dsp:txXfrm>
        <a:off x="457397" y="115661"/>
        <a:ext cx="6034646" cy="426206"/>
      </dsp:txXfrm>
    </dsp:sp>
    <dsp:sp modelId="{704036A8-A38A-445A-B282-255F872CA02C}">
      <dsp:nvSpPr>
        <dsp:cNvPr id="0" name=""/>
        <dsp:cNvSpPr/>
      </dsp:nvSpPr>
      <dsp:spPr>
        <a:xfrm>
          <a:off x="0" y="2012125"/>
          <a:ext cx="8686800" cy="667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74192" tIns="333248" rIns="674192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b="0" kern="1200" dirty="0" smtClean="0"/>
            <a:t>100% of drug expense is reimbursed</a:t>
          </a:r>
          <a:endParaRPr lang="en-US" sz="1600" b="0" kern="1200" dirty="0"/>
        </a:p>
      </dsp:txBody>
      <dsp:txXfrm>
        <a:off x="0" y="2012125"/>
        <a:ext cx="8686800" cy="667800"/>
      </dsp:txXfrm>
    </dsp:sp>
    <dsp:sp modelId="{C3F69CAA-790F-48C2-A11D-6689281B379B}">
      <dsp:nvSpPr>
        <dsp:cNvPr id="0" name=""/>
        <dsp:cNvSpPr/>
      </dsp:nvSpPr>
      <dsp:spPr>
        <a:xfrm>
          <a:off x="434340" y="1775965"/>
          <a:ext cx="6080760" cy="472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9838" tIns="0" rIns="229838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442760: Drug Expense Reimbursement</a:t>
          </a:r>
          <a:endParaRPr lang="en-US" sz="1600" b="1" kern="1200" dirty="0"/>
        </a:p>
      </dsp:txBody>
      <dsp:txXfrm>
        <a:off x="457397" y="1799022"/>
        <a:ext cx="6034646" cy="426206"/>
      </dsp:txXfrm>
    </dsp:sp>
    <dsp:sp modelId="{F86857ED-3067-4475-8FC8-F7D6193F0D0D}">
      <dsp:nvSpPr>
        <dsp:cNvPr id="0" name=""/>
        <dsp:cNvSpPr/>
      </dsp:nvSpPr>
      <dsp:spPr>
        <a:xfrm>
          <a:off x="0" y="3002485"/>
          <a:ext cx="8686800" cy="907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74192" tIns="333248" rIns="674192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b="0" kern="1200" dirty="0" smtClean="0"/>
            <a:t>Retained at central FP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b="0" kern="1200" dirty="0" smtClean="0"/>
            <a:t>Full cost of providing technical services is reimbursed</a:t>
          </a:r>
          <a:endParaRPr lang="en-US" sz="1600" kern="1200" dirty="0"/>
        </a:p>
      </dsp:txBody>
      <dsp:txXfrm>
        <a:off x="0" y="3002485"/>
        <a:ext cx="8686800" cy="907200"/>
      </dsp:txXfrm>
    </dsp:sp>
    <dsp:sp modelId="{D2250362-D018-4449-A034-FAD1A18A71A1}">
      <dsp:nvSpPr>
        <dsp:cNvPr id="0" name=""/>
        <dsp:cNvSpPr/>
      </dsp:nvSpPr>
      <dsp:spPr>
        <a:xfrm>
          <a:off x="434340" y="2766325"/>
          <a:ext cx="6080760" cy="472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9838" tIns="0" rIns="229838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442770: Technical Expense Reimbursement</a:t>
          </a:r>
        </a:p>
      </dsp:txBody>
      <dsp:txXfrm>
        <a:off x="457397" y="2789382"/>
        <a:ext cx="6034646" cy="426206"/>
      </dsp:txXfrm>
    </dsp:sp>
    <dsp:sp modelId="{88A0D2BC-D53D-4685-897A-B569081F1766}">
      <dsp:nvSpPr>
        <dsp:cNvPr id="0" name=""/>
        <dsp:cNvSpPr/>
      </dsp:nvSpPr>
      <dsp:spPr>
        <a:xfrm>
          <a:off x="0" y="4232245"/>
          <a:ext cx="8686800" cy="667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74192" tIns="333248" rIns="674192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Out of cycle adjustments</a:t>
          </a:r>
          <a:endParaRPr lang="en-US" sz="1600" kern="1200" dirty="0"/>
        </a:p>
      </dsp:txBody>
      <dsp:txXfrm>
        <a:off x="0" y="4232245"/>
        <a:ext cx="8686800" cy="667800"/>
      </dsp:txXfrm>
    </dsp:sp>
    <dsp:sp modelId="{A172F992-C582-4A0D-AECD-1F37E26B5C32}">
      <dsp:nvSpPr>
        <dsp:cNvPr id="0" name=""/>
        <dsp:cNvSpPr/>
      </dsp:nvSpPr>
      <dsp:spPr>
        <a:xfrm>
          <a:off x="434340" y="3996085"/>
          <a:ext cx="6080760" cy="4723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9838" tIns="0" rIns="229838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442780: Funds Flow Adjustments</a:t>
          </a:r>
          <a:endParaRPr lang="en-US" sz="1600" b="1" kern="1200" dirty="0"/>
        </a:p>
      </dsp:txBody>
      <dsp:txXfrm>
        <a:off x="457397" y="4019142"/>
        <a:ext cx="6034646" cy="4262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82913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23" tIns="45462" rIns="90923" bIns="45462" numCol="1" anchor="t" anchorCtr="0" compatLnSpc="1">
            <a:prstTxWarp prst="textNoShape">
              <a:avLst/>
            </a:prstTxWarp>
          </a:bodyPr>
          <a:lstStyle>
            <a:lvl1pPr algn="l" defTabSz="910024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98901" y="0"/>
            <a:ext cx="2982913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23" tIns="45462" rIns="90923" bIns="45462" numCol="1" anchor="t" anchorCtr="0" compatLnSpc="1">
            <a:prstTxWarp prst="textNoShape">
              <a:avLst/>
            </a:prstTxWarp>
          </a:bodyPr>
          <a:lstStyle>
            <a:lvl1pPr algn="r" defTabSz="910024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1264"/>
            <a:ext cx="2982913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23" tIns="45462" rIns="90923" bIns="45462" numCol="1" anchor="b" anchorCtr="0" compatLnSpc="1">
            <a:prstTxWarp prst="textNoShape">
              <a:avLst/>
            </a:prstTxWarp>
          </a:bodyPr>
          <a:lstStyle>
            <a:lvl1pPr algn="l" defTabSz="910024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98901" y="8831264"/>
            <a:ext cx="2982913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923" tIns="45462" rIns="90923" bIns="45462" numCol="1" anchor="b" anchorCtr="0" compatLnSpc="1">
            <a:prstTxWarp prst="textNoShape">
              <a:avLst/>
            </a:prstTxWarp>
          </a:bodyPr>
          <a:lstStyle>
            <a:lvl1pPr algn="r" defTabSz="910024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10D5B5E-1721-4764-8B64-B8DE34B3ED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06407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30035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439" tIns="44720" rIns="89439" bIns="44720" numCol="1" anchor="t" anchorCtr="0" compatLnSpc="1">
            <a:prstTxWarp prst="textNoShape">
              <a:avLst/>
            </a:prstTxWarp>
          </a:bodyPr>
          <a:lstStyle>
            <a:lvl1pPr algn="l" defTabSz="894169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03663" y="1"/>
            <a:ext cx="30035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439" tIns="44720" rIns="89439" bIns="44720" numCol="1" anchor="t" anchorCtr="0" compatLnSpc="1">
            <a:prstTxWarp prst="textNoShape">
              <a:avLst/>
            </a:prstTxWarp>
          </a:bodyPr>
          <a:lstStyle>
            <a:lvl1pPr algn="r" defTabSz="894169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86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62025" y="687388"/>
            <a:ext cx="4914900" cy="35115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1700" y="4425950"/>
            <a:ext cx="5029200" cy="419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439" tIns="44720" rIns="89439" bIns="44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50314"/>
            <a:ext cx="3003550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439" tIns="44720" rIns="89439" bIns="44720" numCol="1" anchor="b" anchorCtr="0" compatLnSpc="1">
            <a:prstTxWarp prst="textNoShape">
              <a:avLst/>
            </a:prstTxWarp>
          </a:bodyPr>
          <a:lstStyle>
            <a:lvl1pPr algn="l" defTabSz="894169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03663" y="8850314"/>
            <a:ext cx="3003550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439" tIns="44720" rIns="89439" bIns="44720" numCol="1" anchor="b" anchorCtr="0" compatLnSpc="1">
            <a:prstTxWarp prst="textNoShape">
              <a:avLst/>
            </a:prstTxWarp>
          </a:bodyPr>
          <a:lstStyle>
            <a:lvl1pPr algn="r" defTabSz="894169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AC1433B-489C-47A8-97BF-3BA9DCDC4B3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8578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0024AA-86A5-48F1-BF1F-928E78E2725A}" type="slidenum">
              <a:rPr lang="en-US"/>
              <a:pPr>
                <a:defRPr/>
              </a:pPr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9891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AC1433B-489C-47A8-97BF-3BA9DCDC4B31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57889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AC1433B-489C-47A8-97BF-3BA9DCDC4B31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60710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AC1433B-489C-47A8-97BF-3BA9DCDC4B31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25863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184"/>
          <p:cNvSpPr txBox="1">
            <a:spLocks noChangeArrowheads="1"/>
          </p:cNvSpPr>
          <p:nvPr userDrawn="1"/>
        </p:nvSpPr>
        <p:spPr bwMode="auto">
          <a:xfrm rot="5400000">
            <a:off x="-1870058" y="2394072"/>
            <a:ext cx="40290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altLang="en-US" smtClean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6" name="Rectangle 123"/>
          <p:cNvSpPr>
            <a:spLocks noChangeArrowheads="1"/>
          </p:cNvSpPr>
          <p:nvPr userDrawn="1"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en-GB" altLang="en-US" sz="24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7" name="Line 125"/>
          <p:cNvSpPr>
            <a:spLocks noChangeShapeType="1"/>
          </p:cNvSpPr>
          <p:nvPr userDrawn="1"/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Text Box 306"/>
          <p:cNvSpPr txBox="1">
            <a:spLocks noChangeArrowheads="1"/>
          </p:cNvSpPr>
          <p:nvPr userDrawn="1"/>
        </p:nvSpPr>
        <p:spPr bwMode="auto">
          <a:xfrm rot="5400000">
            <a:off x="-1874837" y="2398834"/>
            <a:ext cx="40386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altLang="en-US" dirty="0" smtClean="0">
                <a:solidFill>
                  <a:srgbClr val="FFFFFF"/>
                </a:solidFill>
                <a:latin typeface="Calibri" pitchFamily="34" charset="0"/>
              </a:rPr>
              <a:t>U N C    S C H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O </a:t>
            </a:r>
            <a:r>
              <a:rPr lang="en-US" altLang="en-US" baseline="0" dirty="0" err="1" smtClean="0">
                <a:solidFill>
                  <a:srgbClr val="FFFFFF"/>
                </a:solidFill>
                <a:latin typeface="Calibri" pitchFamily="34" charset="0"/>
              </a:rPr>
              <a:t>O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L  OF  M E D I C I N E </a:t>
            </a:r>
            <a:r>
              <a:rPr lang="en-US" altLang="en-US" dirty="0" smtClean="0">
                <a:solidFill>
                  <a:srgbClr val="FFFFFF"/>
                </a:solidFill>
                <a:latin typeface="Calibri" pitchFamily="34" charset="0"/>
              </a:rPr>
              <a:t> </a:t>
            </a:r>
          </a:p>
        </p:txBody>
      </p:sp>
      <p:sp>
        <p:nvSpPr>
          <p:cNvPr id="24755" name="Rectangle 179"/>
          <p:cNvSpPr>
            <a:spLocks noGrp="1" noChangeArrowheads="1"/>
          </p:cNvSpPr>
          <p:nvPr>
            <p:ph type="ctrTitle" sz="quarter"/>
          </p:nvPr>
        </p:nvSpPr>
        <p:spPr>
          <a:xfrm>
            <a:off x="720728" y="2229887"/>
            <a:ext cx="3917536" cy="1470025"/>
          </a:xfrm>
          <a:ln/>
        </p:spPr>
        <p:txBody>
          <a:bodyPr lIns="91440" tIns="45720" rIns="91440" bIns="45720" anchor="ctr"/>
          <a:lstStyle>
            <a:lvl1pPr>
              <a:defRPr sz="2200" i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/>
          </p:nvPr>
        </p:nvSpPr>
        <p:spPr>
          <a:xfrm>
            <a:off x="720725" y="4876872"/>
            <a:ext cx="4170363" cy="728663"/>
          </a:xfrm>
        </p:spPr>
        <p:txBody>
          <a:bodyPr/>
          <a:lstStyle>
            <a:lvl1pPr>
              <a:defRPr sz="18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1"/>
          </p:nvPr>
        </p:nvSpPr>
        <p:spPr>
          <a:xfrm>
            <a:off x="720731" y="3199784"/>
            <a:ext cx="3917950" cy="1014412"/>
          </a:xfrm>
        </p:spPr>
        <p:txBody>
          <a:bodyPr/>
          <a:lstStyle>
            <a:lvl1pPr>
              <a:defRPr sz="22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24784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316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302" name="think-cell Slide" r:id="rId4" imgW="331" imgH="333" progId="TCLayout.ActiveDocument.1">
                  <p:embed/>
                </p:oleObj>
              </mc:Choice>
              <mc:Fallback>
                <p:oleObj name="think-cell Slide" r:id="rId4" imgW="331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7421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10970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374" name="think-cell Slide" r:id="rId4" imgW="331" imgH="333" progId="TCLayout.ActiveDocument.1">
                  <p:embed/>
                </p:oleObj>
              </mc:Choice>
              <mc:Fallback>
                <p:oleObj name="think-cell Slide" r:id="rId4" imgW="331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5236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184"/>
          <p:cNvSpPr txBox="1">
            <a:spLocks noChangeArrowheads="1"/>
          </p:cNvSpPr>
          <p:nvPr userDrawn="1"/>
        </p:nvSpPr>
        <p:spPr bwMode="auto">
          <a:xfrm rot="5400000">
            <a:off x="-1870058" y="2394072"/>
            <a:ext cx="40290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altLang="en-US" smtClean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296887" y="3079750"/>
            <a:ext cx="9304337" cy="76993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tIns="91440" bIns="91440" anchor="ctr"/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en-US" altLang="en-US" sz="2400" b="1" smtClean="0">
              <a:solidFill>
                <a:srgbClr val="FFFFFF"/>
              </a:solidFill>
            </a:endParaRPr>
          </a:p>
        </p:txBody>
      </p:sp>
      <p:sp>
        <p:nvSpPr>
          <p:cNvPr id="5" name="Rectangle 123"/>
          <p:cNvSpPr>
            <a:spLocks noChangeArrowheads="1"/>
          </p:cNvSpPr>
          <p:nvPr userDrawn="1"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en-GB" altLang="en-US" sz="24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6" name="Line 125"/>
          <p:cNvSpPr>
            <a:spLocks noChangeShapeType="1"/>
          </p:cNvSpPr>
          <p:nvPr userDrawn="1"/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Text Box 306"/>
          <p:cNvSpPr txBox="1">
            <a:spLocks noChangeArrowheads="1"/>
          </p:cNvSpPr>
          <p:nvPr userDrawn="1"/>
        </p:nvSpPr>
        <p:spPr bwMode="auto">
          <a:xfrm rot="5400000">
            <a:off x="-1874837" y="2398834"/>
            <a:ext cx="40386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en-US" altLang="en-US" dirty="0" smtClean="0">
                <a:solidFill>
                  <a:srgbClr val="FFFFFF"/>
                </a:solidFill>
                <a:latin typeface="Calibri" pitchFamily="34" charset="0"/>
              </a:rPr>
              <a:t>U N C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   </a:t>
            </a:r>
            <a:r>
              <a:rPr lang="en-US" altLang="en-US" dirty="0" smtClean="0">
                <a:solidFill>
                  <a:srgbClr val="FFFFFF"/>
                </a:solidFill>
                <a:latin typeface="Calibri" pitchFamily="34" charset="0"/>
              </a:rPr>
              <a:t>S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C H O </a:t>
            </a:r>
            <a:r>
              <a:rPr lang="en-US" altLang="en-US" baseline="0" dirty="0" err="1" smtClean="0">
                <a:solidFill>
                  <a:srgbClr val="FFFFFF"/>
                </a:solidFill>
                <a:latin typeface="Calibri" pitchFamily="34" charset="0"/>
              </a:rPr>
              <a:t>O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L    O F    M E D I C I N E</a:t>
            </a:r>
            <a:endParaRPr lang="en-US" altLang="en-US" dirty="0" smtClean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1132785" y="3079750"/>
            <a:ext cx="7335630" cy="769938"/>
          </a:xfrm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2423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48686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17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23"/>
          <p:cNvSpPr>
            <a:spLocks noChangeArrowheads="1"/>
          </p:cNvSpPr>
          <p:nvPr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en-GB" altLang="en-US" sz="24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9" name="Line 125"/>
          <p:cNvSpPr>
            <a:spLocks noChangeShapeType="1"/>
          </p:cNvSpPr>
          <p:nvPr/>
        </p:nvSpPr>
        <p:spPr bwMode="auto">
          <a:xfrm>
            <a:off x="0" y="488839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Line 146"/>
          <p:cNvSpPr>
            <a:spLocks noChangeShapeType="1"/>
          </p:cNvSpPr>
          <p:nvPr/>
        </p:nvSpPr>
        <p:spPr bwMode="auto">
          <a:xfrm>
            <a:off x="384175" y="996497"/>
            <a:ext cx="8832850" cy="0"/>
          </a:xfrm>
          <a:prstGeom prst="line">
            <a:avLst/>
          </a:prstGeom>
          <a:noFill/>
          <a:ln w="19050">
            <a:solidFill>
              <a:srgbClr val="0033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Text Box 159"/>
          <p:cNvSpPr txBox="1">
            <a:spLocks noChangeArrowheads="1"/>
          </p:cNvSpPr>
          <p:nvPr/>
        </p:nvSpPr>
        <p:spPr bwMode="auto">
          <a:xfrm>
            <a:off x="9363075" y="6636885"/>
            <a:ext cx="184150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fld id="{C13E4CFC-AF22-4666-AB0F-D6AB505F0B0E}" type="slidenum">
              <a:rPr lang="en-US" altLang="en-US" sz="900" smtClean="0">
                <a:solidFill>
                  <a:srgbClr val="000000"/>
                </a:solidFill>
              </a:rPr>
              <a:pPr eaLnBrk="1" hangingPunct="1"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16" name="Text Box 306"/>
          <p:cNvSpPr txBox="1">
            <a:spLocks noChangeArrowheads="1"/>
          </p:cNvSpPr>
          <p:nvPr/>
        </p:nvSpPr>
        <p:spPr bwMode="auto">
          <a:xfrm rot="5400000">
            <a:off x="-1874837" y="2398834"/>
            <a:ext cx="40386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en-US" altLang="en-US" dirty="0" smtClean="0">
                <a:solidFill>
                  <a:srgbClr val="FFFFFF"/>
                </a:solidFill>
                <a:latin typeface="Calibri" pitchFamily="34" charset="0"/>
              </a:rPr>
              <a:t>U N C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   </a:t>
            </a:r>
            <a:r>
              <a:rPr lang="en-US" altLang="en-US" dirty="0" smtClean="0">
                <a:solidFill>
                  <a:srgbClr val="FFFFFF"/>
                </a:solidFill>
                <a:latin typeface="Calibri" pitchFamily="34" charset="0"/>
              </a:rPr>
              <a:t>S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C H O </a:t>
            </a:r>
            <a:r>
              <a:rPr lang="en-US" altLang="en-US" baseline="0" dirty="0" err="1" smtClean="0">
                <a:solidFill>
                  <a:srgbClr val="FFFFFF"/>
                </a:solidFill>
                <a:latin typeface="Calibri" pitchFamily="34" charset="0"/>
              </a:rPr>
              <a:t>O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L    O F    M E D I C I N E</a:t>
            </a:r>
            <a:endParaRPr lang="en-US" altLang="en-US" dirty="0" smtClean="0">
              <a:solidFill>
                <a:srgbClr val="FFFFFF"/>
              </a:solidFill>
              <a:latin typeface="Calibri" pitchFamily="34" charset="0"/>
            </a:endParaRPr>
          </a:p>
        </p:txBody>
      </p:sp>
      <p:cxnSp>
        <p:nvCxnSpPr>
          <p:cNvPr id="17" name="Straight Connector 10"/>
          <p:cNvCxnSpPr>
            <a:cxnSpLocks noChangeShapeType="1"/>
          </p:cNvCxnSpPr>
          <p:nvPr userDrawn="1"/>
        </p:nvCxnSpPr>
        <p:spPr bwMode="auto">
          <a:xfrm>
            <a:off x="5181600" y="1767489"/>
            <a:ext cx="3962400" cy="0"/>
          </a:xfrm>
          <a:prstGeom prst="line">
            <a:avLst/>
          </a:prstGeom>
          <a:noFill/>
          <a:ln w="28575" algn="ctr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" name="Straight Connector 11"/>
          <p:cNvCxnSpPr>
            <a:cxnSpLocks noChangeShapeType="1"/>
          </p:cNvCxnSpPr>
          <p:nvPr userDrawn="1"/>
        </p:nvCxnSpPr>
        <p:spPr bwMode="auto">
          <a:xfrm>
            <a:off x="609600" y="1767489"/>
            <a:ext cx="3962400" cy="0"/>
          </a:xfrm>
          <a:prstGeom prst="line">
            <a:avLst/>
          </a:prstGeom>
          <a:noFill/>
          <a:ln w="28575" algn="ctr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605965" y="1753911"/>
            <a:ext cx="3962400" cy="358524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5177965" y="1753911"/>
            <a:ext cx="3962400" cy="358524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605965" y="1047890"/>
            <a:ext cx="3962400" cy="706438"/>
          </a:xfrm>
        </p:spPr>
        <p:txBody>
          <a:bodyPr anchor="b"/>
          <a:lstStyle>
            <a:lvl1pPr algn="ctr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177965" y="1047890"/>
            <a:ext cx="3962400" cy="706438"/>
          </a:xfrm>
        </p:spPr>
        <p:txBody>
          <a:bodyPr anchor="b"/>
          <a:lstStyle>
            <a:lvl1pPr algn="ctr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0628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9507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97" name="think-cell Slide" r:id="rId4" imgW="331" imgH="333" progId="TCLayout.ActiveDocument.1">
                  <p:embed/>
                </p:oleObj>
              </mc:Choice>
              <mc:Fallback>
                <p:oleObj name="think-cell Slide" r:id="rId4" imgW="331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95411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184"/>
          <p:cNvSpPr txBox="1">
            <a:spLocks noChangeArrowheads="1"/>
          </p:cNvSpPr>
          <p:nvPr userDrawn="1"/>
        </p:nvSpPr>
        <p:spPr bwMode="auto">
          <a:xfrm rot="5400000">
            <a:off x="-1870058" y="2394072"/>
            <a:ext cx="40290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l" eaLnBrk="1" hangingPunct="1">
              <a:spcBef>
                <a:spcPct val="50000"/>
              </a:spcBef>
              <a:defRPr/>
            </a:pPr>
            <a:r>
              <a:rPr lang="en-US" altLang="en-US" smtClean="0">
                <a:solidFill>
                  <a:srgbClr val="FFFFFF"/>
                </a:solidFill>
                <a:latin typeface="Calibri" pitchFamily="34" charset="0"/>
              </a:rPr>
              <a:t>U N C    H E A L T H    C A R E    S Y S T E M </a:t>
            </a:r>
          </a:p>
        </p:txBody>
      </p:sp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296887" y="3079750"/>
            <a:ext cx="9304337" cy="769938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bg2"/>
            </a:solidFill>
            <a:round/>
            <a:headEnd/>
            <a:tailEnd/>
          </a:ln>
        </p:spPr>
        <p:txBody>
          <a:bodyPr tIns="91440" bIns="91440" anchor="ctr"/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en-US" altLang="en-US" sz="2400" b="1" smtClean="0">
              <a:solidFill>
                <a:srgbClr val="FFFFFF"/>
              </a:solidFill>
            </a:endParaRPr>
          </a:p>
        </p:txBody>
      </p:sp>
      <p:sp>
        <p:nvSpPr>
          <p:cNvPr id="5" name="Rectangle 123"/>
          <p:cNvSpPr>
            <a:spLocks noChangeArrowheads="1"/>
          </p:cNvSpPr>
          <p:nvPr userDrawn="1"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en-GB" altLang="en-US" sz="24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6" name="Line 125"/>
          <p:cNvSpPr>
            <a:spLocks noChangeShapeType="1"/>
          </p:cNvSpPr>
          <p:nvPr userDrawn="1"/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Text Box 306"/>
          <p:cNvSpPr txBox="1">
            <a:spLocks noChangeArrowheads="1"/>
          </p:cNvSpPr>
          <p:nvPr userDrawn="1"/>
        </p:nvSpPr>
        <p:spPr bwMode="auto">
          <a:xfrm rot="5400000">
            <a:off x="-1874837" y="2398834"/>
            <a:ext cx="40386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en-US" altLang="en-US" dirty="0" smtClean="0">
                <a:solidFill>
                  <a:srgbClr val="FFFFFF"/>
                </a:solidFill>
                <a:latin typeface="Calibri" pitchFamily="34" charset="0"/>
              </a:rPr>
              <a:t>U N C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   </a:t>
            </a:r>
            <a:r>
              <a:rPr lang="en-US" altLang="en-US" dirty="0" smtClean="0">
                <a:solidFill>
                  <a:srgbClr val="FFFFFF"/>
                </a:solidFill>
                <a:latin typeface="Calibri" pitchFamily="34" charset="0"/>
              </a:rPr>
              <a:t>S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C H O </a:t>
            </a:r>
            <a:r>
              <a:rPr lang="en-US" altLang="en-US" baseline="0" dirty="0" err="1" smtClean="0">
                <a:solidFill>
                  <a:srgbClr val="FFFFFF"/>
                </a:solidFill>
                <a:latin typeface="Calibri" pitchFamily="34" charset="0"/>
              </a:rPr>
              <a:t>O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L    O F    M E D I C I N E</a:t>
            </a:r>
            <a:endParaRPr lang="en-US" altLang="en-US" dirty="0" smtClean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1490870" y="3079750"/>
            <a:ext cx="7335630" cy="769938"/>
          </a:xfrm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1555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9784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9" hidden="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0680118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7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0" name="Object 9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483" name="Rectangle 123"/>
          <p:cNvSpPr>
            <a:spLocks noChangeArrowheads="1"/>
          </p:cNvSpPr>
          <p:nvPr/>
        </p:nvSpPr>
        <p:spPr bwMode="auto">
          <a:xfrm>
            <a:off x="0" y="0"/>
            <a:ext cx="304800" cy="4876800"/>
          </a:xfrm>
          <a:prstGeom prst="rect">
            <a:avLst/>
          </a:prstGeom>
          <a:solidFill>
            <a:srgbClr val="99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en-GB" altLang="en-US" sz="2400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0484" name="Line 125"/>
          <p:cNvSpPr>
            <a:spLocks noChangeShapeType="1"/>
          </p:cNvSpPr>
          <p:nvPr/>
        </p:nvSpPr>
        <p:spPr bwMode="auto">
          <a:xfrm>
            <a:off x="0" y="4876800"/>
            <a:ext cx="304800" cy="0"/>
          </a:xfrm>
          <a:prstGeom prst="line">
            <a:avLst/>
          </a:prstGeom>
          <a:noFill/>
          <a:ln w="44450">
            <a:solidFill>
              <a:srgbClr val="0033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485" name="Line 146"/>
          <p:cNvSpPr>
            <a:spLocks noChangeShapeType="1"/>
          </p:cNvSpPr>
          <p:nvPr/>
        </p:nvSpPr>
        <p:spPr bwMode="auto">
          <a:xfrm>
            <a:off x="384175" y="1006475"/>
            <a:ext cx="8832850" cy="0"/>
          </a:xfrm>
          <a:prstGeom prst="line">
            <a:avLst/>
          </a:prstGeom>
          <a:noFill/>
          <a:ln w="19050">
            <a:solidFill>
              <a:srgbClr val="0033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486" name="Rectangle 1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1" y="1600206"/>
            <a:ext cx="8686800" cy="453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20487" name="Text Box 159"/>
          <p:cNvSpPr txBox="1">
            <a:spLocks noChangeArrowheads="1"/>
          </p:cNvSpPr>
          <p:nvPr/>
        </p:nvSpPr>
        <p:spPr bwMode="auto">
          <a:xfrm>
            <a:off x="9363075" y="6646863"/>
            <a:ext cx="184150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fld id="{655D16B9-8957-406B-9A22-7FD9DD0485DB}" type="slidenum">
              <a:rPr lang="en-US" altLang="en-US" sz="900" smtClean="0">
                <a:solidFill>
                  <a:srgbClr val="000000"/>
                </a:solidFill>
              </a:rPr>
              <a:pPr eaLnBrk="1" hangingPunct="1">
                <a:defRPr/>
              </a:pPr>
              <a:t>‹#›</a:t>
            </a:fld>
            <a:endParaRPr lang="en-US" altLang="en-US" sz="900" smtClean="0">
              <a:solidFill>
                <a:srgbClr val="000000"/>
              </a:solidFill>
            </a:endParaRPr>
          </a:p>
        </p:txBody>
      </p:sp>
      <p:sp>
        <p:nvSpPr>
          <p:cNvPr id="20488" name="Rectangle 217"/>
          <p:cNvSpPr>
            <a:spLocks noGrp="1" noChangeArrowheads="1"/>
          </p:cNvSpPr>
          <p:nvPr>
            <p:ph type="title"/>
          </p:nvPr>
        </p:nvSpPr>
        <p:spPr bwMode="auto">
          <a:xfrm>
            <a:off x="457201" y="163513"/>
            <a:ext cx="8686800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Slide title</a:t>
            </a:r>
          </a:p>
        </p:txBody>
      </p:sp>
      <p:sp>
        <p:nvSpPr>
          <p:cNvPr id="20489" name="Text Box 306"/>
          <p:cNvSpPr txBox="1">
            <a:spLocks noChangeArrowheads="1"/>
          </p:cNvSpPr>
          <p:nvPr/>
        </p:nvSpPr>
        <p:spPr bwMode="auto">
          <a:xfrm rot="5400000">
            <a:off x="-1874837" y="2398834"/>
            <a:ext cx="40386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ctr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defRPr/>
            </a:pPr>
            <a:r>
              <a:rPr lang="en-US" altLang="en-US" dirty="0" smtClean="0">
                <a:solidFill>
                  <a:srgbClr val="FFFFFF"/>
                </a:solidFill>
                <a:latin typeface="Calibri" pitchFamily="34" charset="0"/>
              </a:rPr>
              <a:t>U N C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   </a:t>
            </a:r>
            <a:r>
              <a:rPr lang="en-US" altLang="en-US" dirty="0" smtClean="0">
                <a:solidFill>
                  <a:srgbClr val="FFFFFF"/>
                </a:solidFill>
                <a:latin typeface="Calibri" pitchFamily="34" charset="0"/>
              </a:rPr>
              <a:t>S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C H O </a:t>
            </a:r>
            <a:r>
              <a:rPr lang="en-US" altLang="en-US" baseline="0" dirty="0" err="1" smtClean="0">
                <a:solidFill>
                  <a:srgbClr val="FFFFFF"/>
                </a:solidFill>
                <a:latin typeface="Calibri" pitchFamily="34" charset="0"/>
              </a:rPr>
              <a:t>O</a:t>
            </a:r>
            <a:r>
              <a:rPr lang="en-US" altLang="en-US" baseline="0" dirty="0" smtClean="0">
                <a:solidFill>
                  <a:srgbClr val="FFFFFF"/>
                </a:solidFill>
                <a:latin typeface="Calibri" pitchFamily="34" charset="0"/>
              </a:rPr>
              <a:t> L    O F    M E D I C I N E</a:t>
            </a:r>
            <a:endParaRPr lang="en-US" altLang="en-US" dirty="0" smtClean="0">
              <a:solidFill>
                <a:srgbClr val="FFFFFF"/>
              </a:solidFill>
              <a:latin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42" r:id="rId1"/>
    <p:sldLayoutId id="2147484539" r:id="rId2"/>
    <p:sldLayoutId id="2147484540" r:id="rId3"/>
    <p:sldLayoutId id="2147484643" r:id="rId4"/>
    <p:sldLayoutId id="2147484644" r:id="rId5"/>
    <p:sldLayoutId id="2147484541" r:id="rId6"/>
    <p:sldLayoutId id="2147484645" r:id="rId7"/>
    <p:sldLayoutId id="2147484857" r:id="rId8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bg2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538163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896938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255713" indent="-1793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4pPr>
      <a:lvl5pPr marL="1616075" indent="-1809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20732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5304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9876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444875" indent="-180975" algn="l" rtl="0" fontAlgn="base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2.xml"/><Relationship Id="rId7" Type="http://schemas.openxmlformats.org/officeDocument/2006/relationships/image" Target="../media/image6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tags" Target="../tags/tag24.xml"/><Relationship Id="rId7" Type="http://schemas.openxmlformats.org/officeDocument/2006/relationships/diagramData" Target="../diagrams/data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11" Type="http://schemas.microsoft.com/office/2007/relationships/diagramDrawing" Target="../diagrams/drawing4.xml"/><Relationship Id="rId5" Type="http://schemas.openxmlformats.org/officeDocument/2006/relationships/oleObject" Target="../embeddings/oleObject15.bin"/><Relationship Id="rId10" Type="http://schemas.openxmlformats.org/officeDocument/2006/relationships/diagramColors" Target="../diagrams/colors4.xml"/><Relationship Id="rId4" Type="http://schemas.openxmlformats.org/officeDocument/2006/relationships/slideLayout" Target="../slideLayouts/slideLayout2.xml"/><Relationship Id="rId9" Type="http://schemas.openxmlformats.org/officeDocument/2006/relationships/diagramQuickStyle" Target="../diagrams/quickStyle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hyperlink" Target="https://www.med.unc.edu/fbo/funds-flow/" TargetMode="External"/><Relationship Id="rId2" Type="http://schemas.openxmlformats.org/officeDocument/2006/relationships/tags" Target="../tags/tag2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1.xml"/><Relationship Id="rId7" Type="http://schemas.openxmlformats.org/officeDocument/2006/relationships/hyperlink" Target="https://www.med.unc.edu/fbo/funds-flow" TargetMode="External"/><Relationship Id="rId2" Type="http://schemas.openxmlformats.org/officeDocument/2006/relationships/tags" Target="../tags/tag3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2.xml"/><Relationship Id="rId7" Type="http://schemas.openxmlformats.org/officeDocument/2006/relationships/diagramLayout" Target="../diagrams/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6.bin"/><Relationship Id="rId9" Type="http://schemas.openxmlformats.org/officeDocument/2006/relationships/diagramColors" Target="../diagrams/colors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diagramLayout" Target="../diagrams/layout3.xml"/><Relationship Id="rId3" Type="http://schemas.openxmlformats.org/officeDocument/2006/relationships/tags" Target="../tags/tag10.xml"/><Relationship Id="rId7" Type="http://schemas.openxmlformats.org/officeDocument/2006/relationships/diagramData" Target="../diagrams/data2.xml"/><Relationship Id="rId12" Type="http://schemas.openxmlformats.org/officeDocument/2006/relationships/diagramData" Target="../diagrams/data3.xml"/><Relationship Id="rId2" Type="http://schemas.openxmlformats.org/officeDocument/2006/relationships/tags" Target="../tags/tag9.xml"/><Relationship Id="rId16" Type="http://schemas.microsoft.com/office/2007/relationships/diagramDrawing" Target="../diagrams/drawing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11" Type="http://schemas.microsoft.com/office/2007/relationships/diagramDrawing" Target="../diagrams/drawing2.xml"/><Relationship Id="rId5" Type="http://schemas.openxmlformats.org/officeDocument/2006/relationships/oleObject" Target="../embeddings/oleObject8.bin"/><Relationship Id="rId15" Type="http://schemas.openxmlformats.org/officeDocument/2006/relationships/diagramColors" Target="../diagrams/colors3.xml"/><Relationship Id="rId10" Type="http://schemas.openxmlformats.org/officeDocument/2006/relationships/diagramColors" Target="../diagrams/colors2.xml"/><Relationship Id="rId4" Type="http://schemas.openxmlformats.org/officeDocument/2006/relationships/slideLayout" Target="../slideLayouts/slideLayout2.xml"/><Relationship Id="rId9" Type="http://schemas.openxmlformats.org/officeDocument/2006/relationships/diagramQuickStyle" Target="../diagrams/quickStyle2.xml"/><Relationship Id="rId14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5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8.xml"/><Relationship Id="rId7" Type="http://schemas.openxmlformats.org/officeDocument/2006/relationships/image" Target="../media/image6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0.xml"/><Relationship Id="rId7" Type="http://schemas.openxmlformats.org/officeDocument/2006/relationships/image" Target="../media/image6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sz="quarter"/>
          </p:nvPr>
        </p:nvSpPr>
        <p:spPr>
          <a:xfrm>
            <a:off x="720728" y="2112595"/>
            <a:ext cx="3772632" cy="1470025"/>
          </a:xfrm>
        </p:spPr>
        <p:txBody>
          <a:bodyPr/>
          <a:lstStyle/>
          <a:p>
            <a:r>
              <a:rPr lang="en-US" dirty="0" smtClean="0"/>
              <a:t>Funds Flow Session 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June 11, 2019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20731" y="3336308"/>
            <a:ext cx="3917950" cy="1014412"/>
          </a:xfrm>
        </p:spPr>
        <p:txBody>
          <a:bodyPr/>
          <a:lstStyle/>
          <a:p>
            <a:r>
              <a:rPr lang="en-US" dirty="0" smtClean="0"/>
              <a:t>Bondurant G-030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3360" y="2506134"/>
            <a:ext cx="4839005" cy="1153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950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2498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7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40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ds Flow Calculations/SAS Repor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b="0" dirty="0" smtClean="0"/>
              <a:t>442730: Benefits Allocation &amp; 442740: Overhead Allocation</a:t>
            </a:r>
            <a:endParaRPr lang="en-US" b="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442730: Benefits Allocation 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dirty="0"/>
              <a:t>Benefits (University and FP benefits) * </a:t>
            </a:r>
            <a:r>
              <a:rPr lang="en-US" dirty="0" err="1"/>
              <a:t>cFTE</a:t>
            </a:r>
            <a:r>
              <a:rPr lang="en-US" dirty="0"/>
              <a:t> 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dirty="0"/>
              <a:t>Adjusted for start/end dat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442740</a:t>
            </a:r>
            <a:r>
              <a:rPr lang="en-US" dirty="0"/>
              <a:t>: Overhead </a:t>
            </a:r>
            <a:r>
              <a:rPr lang="en-US" dirty="0" smtClean="0"/>
              <a:t>Allocation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dirty="0"/>
              <a:t>Overhead * Job FTE * </a:t>
            </a:r>
            <a:r>
              <a:rPr lang="en-US" dirty="0" err="1"/>
              <a:t>cFTE</a:t>
            </a:r>
            <a:endParaRPr lang="en-US" dirty="0"/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dirty="0"/>
              <a:t>Adjusted for Job FTE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dirty="0"/>
              <a:t>Adjusted for start/end </a:t>
            </a:r>
            <a:r>
              <a:rPr lang="en-US" dirty="0" smtClean="0"/>
              <a:t>dates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FY20 rate per </a:t>
            </a:r>
            <a:r>
              <a:rPr lang="en-US"/>
              <a:t>c</a:t>
            </a:r>
            <a:r>
              <a:rPr lang="en-US" smtClean="0"/>
              <a:t>FTE</a:t>
            </a:r>
            <a:r>
              <a:rPr lang="en-US" dirty="0" smtClean="0"/>
              <a:t> </a:t>
            </a:r>
            <a:r>
              <a:rPr lang="en-US" dirty="0"/>
              <a:t>= $35,849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644525" lvl="1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544770" name="Picture 2" descr="C:\Users\lsolana\AppData\Local\Temp\SNAGHTML2df28c67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455" y="4197100"/>
            <a:ext cx="8668195" cy="13047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0244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31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51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40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ds Flow </a:t>
            </a:r>
            <a:r>
              <a:rPr lang="en-US" dirty="0" smtClean="0"/>
              <a:t>Calculations</a:t>
            </a:r>
            <a:br>
              <a:rPr lang="en-US" dirty="0" smtClean="0"/>
            </a:br>
            <a:r>
              <a:rPr lang="en-US" b="0" dirty="0" smtClean="0"/>
              <a:t>Department Level Allocations</a:t>
            </a:r>
            <a:endParaRPr lang="en-US" b="0" dirty="0"/>
          </a:p>
        </p:txBody>
      </p:sp>
      <p:graphicFrame>
        <p:nvGraphicFramePr>
          <p:cNvPr id="3" name="Content Placeholder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0941409"/>
              </p:ext>
            </p:extLst>
          </p:nvPr>
        </p:nvGraphicFramePr>
        <p:xfrm>
          <a:off x="457200" y="1355130"/>
          <a:ext cx="8686800" cy="49926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40245318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8300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53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4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441640 – GM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431940"/>
            <a:ext cx="8686800" cy="490119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All resident and GME contracts are collected centrally vs. through the departments 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b="0" dirty="0" smtClean="0"/>
              <a:t>Any </a:t>
            </a:r>
            <a:r>
              <a:rPr lang="en-US" b="0" dirty="0"/>
              <a:t>overhead associated with these contracts </a:t>
            </a:r>
            <a:r>
              <a:rPr lang="en-US" b="0" dirty="0" smtClean="0"/>
              <a:t>flows </a:t>
            </a:r>
            <a:r>
              <a:rPr lang="en-US" b="0" dirty="0"/>
              <a:t>to the department, however the portion to cover salaries </a:t>
            </a:r>
            <a:r>
              <a:rPr lang="en-US" dirty="0" smtClean="0"/>
              <a:t>is </a:t>
            </a:r>
            <a:r>
              <a:rPr lang="en-US" b="0" dirty="0" smtClean="0"/>
              <a:t>transferred </a:t>
            </a:r>
            <a:r>
              <a:rPr lang="en-US" b="0" dirty="0"/>
              <a:t>to the hospital</a:t>
            </a:r>
          </a:p>
          <a:p>
            <a:pPr marL="0" indent="0"/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alaries and benefits for Program Directors and Coordinators for Core Residency Programs (see committee approved grids below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5.5</a:t>
            </a:r>
            <a:r>
              <a:rPr lang="en-US" dirty="0"/>
              <a:t>% tax is </a:t>
            </a:r>
            <a:r>
              <a:rPr lang="en-US" dirty="0" smtClean="0"/>
              <a:t>not applied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9013055"/>
              </p:ext>
            </p:extLst>
          </p:nvPr>
        </p:nvGraphicFramePr>
        <p:xfrm>
          <a:off x="1829410" y="3183924"/>
          <a:ext cx="2834244" cy="165691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06625">
                  <a:extLst>
                    <a:ext uri="{9D8B030D-6E8A-4147-A177-3AD203B41FA5}">
                      <a16:colId xmlns:a16="http://schemas.microsoft.com/office/drawing/2014/main" val="2313188836"/>
                    </a:ext>
                  </a:extLst>
                </a:gridCol>
                <a:gridCol w="1327619">
                  <a:extLst>
                    <a:ext uri="{9D8B030D-6E8A-4147-A177-3AD203B41FA5}">
                      <a16:colId xmlns:a16="http://schemas.microsoft.com/office/drawing/2014/main" val="1408943577"/>
                    </a:ext>
                  </a:extLst>
                </a:gridCol>
              </a:tblGrid>
              <a:tr h="38370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Number of Resident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Coordinator Effort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761741145"/>
                  </a:ext>
                </a:extLst>
              </a:tr>
              <a:tr h="20929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Less than 1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0.5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338960789"/>
                  </a:ext>
                </a:extLst>
              </a:tr>
              <a:tr h="20929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0-19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0.75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667380284"/>
                  </a:ext>
                </a:extLst>
              </a:tr>
              <a:tr h="20929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20-3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.0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53432805"/>
                  </a:ext>
                </a:extLst>
              </a:tr>
              <a:tr h="20929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40-49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.25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02633967"/>
                  </a:ext>
                </a:extLst>
              </a:tr>
              <a:tr h="21801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50-6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.5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673336352"/>
                  </a:ext>
                </a:extLst>
              </a:tr>
              <a:tr h="21801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Over 6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2.0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377688008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1872492"/>
              </p:ext>
            </p:extLst>
          </p:nvPr>
        </p:nvGraphicFramePr>
        <p:xfrm>
          <a:off x="4877410" y="3183924"/>
          <a:ext cx="2819400" cy="204373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val="3056869114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2031781205"/>
                    </a:ext>
                  </a:extLst>
                </a:gridCol>
              </a:tblGrid>
              <a:tr h="38573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Number of Resident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Director Effort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175756665"/>
                  </a:ext>
                </a:extLst>
              </a:tr>
              <a:tr h="21040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</a:rPr>
                        <a:t>Less than 10</a:t>
                      </a:r>
                      <a:endParaRPr lang="en-US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</a:rPr>
                        <a:t>0.15</a:t>
                      </a:r>
                      <a:endParaRPr lang="en-US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33192791"/>
                  </a:ext>
                </a:extLst>
              </a:tr>
              <a:tr h="21040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-19</a:t>
                      </a: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25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854396992"/>
                  </a:ext>
                </a:extLst>
              </a:tr>
              <a:tr h="21040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</a:rPr>
                        <a:t>20-29</a:t>
                      </a:r>
                      <a:endParaRPr lang="en-US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</a:rPr>
                        <a:t>0.35</a:t>
                      </a:r>
                      <a:endParaRPr lang="en-US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164992438"/>
                  </a:ext>
                </a:extLst>
              </a:tr>
              <a:tr h="8837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</a:rPr>
                        <a:t>30-39</a:t>
                      </a:r>
                      <a:endParaRPr lang="en-US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</a:rPr>
                        <a:t>0.50</a:t>
                      </a:r>
                      <a:endParaRPr lang="en-US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079671795"/>
                  </a:ext>
                </a:extLst>
              </a:tr>
              <a:tr h="21040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</a:rPr>
                        <a:t>40-49</a:t>
                      </a:r>
                      <a:endParaRPr lang="en-US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</a:rPr>
                        <a:t>0.75</a:t>
                      </a:r>
                      <a:endParaRPr lang="en-US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2826570916"/>
                  </a:ext>
                </a:extLst>
              </a:tr>
              <a:tr h="21040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</a:rPr>
                        <a:t>50-59</a:t>
                      </a:r>
                      <a:endParaRPr lang="en-US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</a:rPr>
                        <a:t>1.00</a:t>
                      </a:r>
                      <a:endParaRPr lang="en-US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005729682"/>
                  </a:ext>
                </a:extLst>
              </a:tr>
              <a:tr h="21916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  <a:ea typeface="+mn-ea"/>
                          <a:cs typeface="+mn-cs"/>
                        </a:rPr>
                        <a:t>60-70</a:t>
                      </a:r>
                      <a:endParaRPr lang="en-US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</a:rPr>
                        <a:t>1.25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450816898"/>
                  </a:ext>
                </a:extLst>
              </a:tr>
              <a:tr h="219169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ver</a:t>
                      </a:r>
                      <a:r>
                        <a:rPr lang="en-US" sz="1100" baseline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70</a:t>
                      </a:r>
                      <a:endParaRPr lang="en-US" sz="11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+mn-lt"/>
                        </a:rPr>
                        <a:t>1.50</a:t>
                      </a: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0056476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6147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9884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629" name="think-cell Slide" r:id="rId4" imgW="331" imgH="333" progId="TCLayout.ActiveDocument.1">
                  <p:embed/>
                </p:oleObj>
              </mc:Choice>
              <mc:Fallback>
                <p:oleObj name="think-cell Slide" r:id="rId4" imgW="331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Resour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43372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9873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42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4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nds Flow Resour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163105"/>
            <a:ext cx="8686800" cy="453072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Content Placeholder 3"/>
          <p:cNvSpPr txBox="1">
            <a:spLocks/>
          </p:cNvSpPr>
          <p:nvPr/>
        </p:nvSpPr>
        <p:spPr bwMode="auto">
          <a:xfrm>
            <a:off x="457201" y="1431940"/>
            <a:ext cx="8686800" cy="453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9388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896938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255713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1616075" indent="-1809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073275" indent="-1809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530475" indent="-1809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987675" indent="-1809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444875" indent="-1809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0" dirty="0" smtClean="0"/>
              <a:t>Monthly Training for ACAs/Business Managers and other applicable staf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0" dirty="0" smtClean="0"/>
              <a:t>Funds </a:t>
            </a:r>
            <a:r>
              <a:rPr lang="en-US" kern="0" dirty="0"/>
              <a:t>Flow Website </a:t>
            </a:r>
            <a:r>
              <a:rPr lang="en-US" kern="0" dirty="0">
                <a:hlinkClick r:id="rId7"/>
              </a:rPr>
              <a:t>https://www.med.unc.edu/fbo/funds-flow</a:t>
            </a:r>
            <a:r>
              <a:rPr lang="en-US" kern="0" dirty="0" smtClean="0">
                <a:hlinkClick r:id="rId7"/>
              </a:rPr>
              <a:t>/</a:t>
            </a:r>
            <a:r>
              <a:rPr lang="en-US" kern="0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0" dirty="0" smtClean="0"/>
              <a:t>Infoporte Funds Flow Reports published month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0" dirty="0" smtClean="0"/>
              <a:t>Departmental Monthly Financial Meetings with F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0" dirty="0" smtClean="0"/>
              <a:t>Department leadership meetings upon reque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0" dirty="0" smtClean="0"/>
              <a:t>Division Chief/Faculty meetings upon reque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0" dirty="0" smtClean="0"/>
              <a:t>Future education strategy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kern="0" dirty="0" smtClean="0"/>
              <a:t>Creating ACA education committee 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kern="0" dirty="0" smtClean="0"/>
              <a:t>Funds Flow quick referenc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kern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kern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kern="0" dirty="0" smtClean="0"/>
          </a:p>
          <a:p>
            <a:pPr marL="0" indent="0"/>
            <a:endParaRPr lang="en-US" kern="0" dirty="0" smtClean="0"/>
          </a:p>
          <a:p>
            <a:endParaRPr lang="en-US" kern="0" dirty="0" smtClean="0"/>
          </a:p>
          <a:p>
            <a:endParaRPr lang="en-US" kern="0" dirty="0"/>
          </a:p>
        </p:txBody>
      </p:sp>
      <p:sp>
        <p:nvSpPr>
          <p:cNvPr id="6" name="TextBox 5"/>
          <p:cNvSpPr txBox="1"/>
          <p:nvPr/>
        </p:nvSpPr>
        <p:spPr>
          <a:xfrm>
            <a:off x="806480" y="4926795"/>
            <a:ext cx="7988240" cy="107721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endParaRPr lang="en-US" sz="2000" dirty="0" smtClean="0"/>
          </a:p>
          <a:p>
            <a:pPr algn="ctr"/>
            <a:r>
              <a:rPr lang="en-US" sz="2400" dirty="0" smtClean="0"/>
              <a:t>What other resources would be helpful?</a:t>
            </a:r>
          </a:p>
          <a:p>
            <a:pPr algn="ctr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994410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4854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606" name="think-cell Slide" r:id="rId5" imgW="331" imgH="333" progId="TCLayout.ActiveDocument.1">
                  <p:embed/>
                </p:oleObj>
              </mc:Choice>
              <mc:Fallback>
                <p:oleObj name="think-cell Slide" r:id="rId5" imgW="331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kumimoji="0" lang="en-US" sz="24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nds Flow Website</a:t>
            </a:r>
            <a:endParaRPr lang="en-US" b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1600207"/>
            <a:ext cx="8686800" cy="2059224"/>
          </a:xfrm>
        </p:spPr>
        <p:txBody>
          <a:bodyPr/>
          <a:lstStyle/>
          <a:p>
            <a:r>
              <a:rPr lang="en-US" dirty="0" smtClean="0"/>
              <a:t>Website includ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Committees: </a:t>
            </a:r>
            <a:r>
              <a:rPr lang="en-US" b="0" dirty="0" smtClean="0"/>
              <a:t>submission deadlines (if applicable), upcoming committee meetings, as well as other inform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FAQs: </a:t>
            </a:r>
            <a:r>
              <a:rPr lang="en-US" b="0" dirty="0" smtClean="0"/>
              <a:t>collected from previous Funds Flow ses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Resources: </a:t>
            </a:r>
            <a:r>
              <a:rPr lang="en-US" b="0" dirty="0" smtClean="0"/>
              <a:t>slides from previous Funds Flow sessions</a:t>
            </a:r>
          </a:p>
          <a:p>
            <a:endParaRPr lang="en-US" dirty="0" smtClean="0">
              <a:hlinkClick r:id=""/>
            </a:endParaRPr>
          </a:p>
          <a:p>
            <a:r>
              <a:rPr lang="en-US" dirty="0" smtClean="0">
                <a:hlinkClick r:id=""/>
              </a:rPr>
              <a:t>https</a:t>
            </a:r>
            <a:r>
              <a:rPr lang="en-US" dirty="0">
                <a:hlinkClick r:id="rId7"/>
              </a:rPr>
              <a:t>://</a:t>
            </a:r>
            <a:r>
              <a:rPr lang="en-US" dirty="0" smtClean="0">
                <a:hlinkClick r:id="rId7"/>
              </a:rPr>
              <a:t>www.med.unc.edu/fbo/funds-flow</a:t>
            </a:r>
            <a:r>
              <a:rPr lang="en-US" dirty="0" smtClean="0"/>
              <a:t> 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  <a:p>
            <a:endParaRPr lang="en-US" sz="2800" dirty="0" smtClean="0">
              <a:solidFill>
                <a:srgbClr val="FF0000"/>
              </a:solidFill>
            </a:endParaRP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18737" y="3851455"/>
            <a:ext cx="6963727" cy="2730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508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2880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561" name="think-cell Slide" r:id="rId4" imgW="331" imgH="333" progId="TCLayout.ActiveDocument.1">
                  <p:embed/>
                </p:oleObj>
              </mc:Choice>
              <mc:Fallback>
                <p:oleObj name="think-cell Slide" r:id="rId4" imgW="331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99975602"/>
              </p:ext>
            </p:extLst>
          </p:nvPr>
        </p:nvGraphicFramePr>
        <p:xfrm>
          <a:off x="457200" y="1600200"/>
          <a:ext cx="8686800" cy="4530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4365069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678" name="think-cell Slide" r:id="rId4" imgW="331" imgH="333" progId="TCLayout.ActiveDocument.1">
                  <p:embed/>
                </p:oleObj>
              </mc:Choice>
              <mc:Fallback>
                <p:oleObj name="think-cell Slide" r:id="rId4" imgW="331" imgH="33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Review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8090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9873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44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4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nds Flow Accounts</a:t>
            </a:r>
            <a:endParaRPr lang="en-US" b="0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99585901"/>
              </p:ext>
            </p:extLst>
          </p:nvPr>
        </p:nvGraphicFramePr>
        <p:xfrm>
          <a:off x="471194" y="2584090"/>
          <a:ext cx="3676521" cy="35217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7" name="Content Placeholder 3"/>
          <p:cNvSpPr txBox="1">
            <a:spLocks/>
          </p:cNvSpPr>
          <p:nvPr/>
        </p:nvSpPr>
        <p:spPr bwMode="auto">
          <a:xfrm>
            <a:off x="471194" y="1470345"/>
            <a:ext cx="8672806" cy="880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>
            <a:lvl1pPr marL="179388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896938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255713" indent="-1793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1616075" indent="-1809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073275" indent="-1809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530475" indent="-1809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2987675" indent="-1809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444875" indent="-1809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kern="0" dirty="0" smtClean="0"/>
              <a:t>Listed below are the contra revenue accounts, where you receive your Funds Flow reimbursement dollar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kern="0" dirty="0"/>
          </a:p>
        </p:txBody>
      </p:sp>
      <p:graphicFrame>
        <p:nvGraphicFramePr>
          <p:cNvPr id="5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27201817"/>
              </p:ext>
            </p:extLst>
          </p:nvPr>
        </p:nvGraphicFramePr>
        <p:xfrm>
          <a:off x="5376675" y="2584090"/>
          <a:ext cx="3676521" cy="35217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</p:spTree>
    <p:extLst>
      <p:ext uri="{BB962C8B-B14F-4D97-AF65-F5344CB8AC3E}">
        <p14:creationId xmlns:p14="http://schemas.microsoft.com/office/powerpoint/2010/main" val="1054211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7295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46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4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nds Flow Qualific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Who is included in Funds Flow?</a:t>
            </a:r>
          </a:p>
          <a:p>
            <a:pPr lvl="1"/>
            <a:r>
              <a:rPr lang="en-US" dirty="0" smtClean="0"/>
              <a:t>Determined by the </a:t>
            </a:r>
            <a:r>
              <a:rPr lang="en-US" dirty="0" err="1" smtClean="0"/>
              <a:t>Peoplesoft</a:t>
            </a:r>
            <a:r>
              <a:rPr lang="en-US" dirty="0" smtClean="0"/>
              <a:t> HR Degree table</a:t>
            </a:r>
          </a:p>
          <a:p>
            <a:pPr lvl="1"/>
            <a:r>
              <a:rPr lang="en-US" dirty="0" smtClean="0"/>
              <a:t>MD</a:t>
            </a:r>
            <a:r>
              <a:rPr lang="en-US" dirty="0"/>
              <a:t>, DOM, and FDCH degrees are all considered “MD”</a:t>
            </a:r>
          </a:p>
          <a:p>
            <a:pPr lvl="1"/>
            <a:r>
              <a:rPr lang="en-US" dirty="0"/>
              <a:t>Maintained by the Background Check Team</a:t>
            </a:r>
          </a:p>
          <a:p>
            <a:endParaRPr lang="en-US" dirty="0" smtClean="0"/>
          </a:p>
          <a:p>
            <a:r>
              <a:rPr lang="en-US" dirty="0" smtClean="0"/>
              <a:t>Primary </a:t>
            </a:r>
            <a:r>
              <a:rPr lang="en-US" dirty="0"/>
              <a:t>job pay group = ‘EHRA – Faculty</a:t>
            </a:r>
            <a:r>
              <a:rPr lang="en-US" dirty="0" smtClean="0"/>
              <a:t>’</a:t>
            </a:r>
          </a:p>
          <a:p>
            <a:endParaRPr lang="en-US" dirty="0"/>
          </a:p>
          <a:p>
            <a:pPr lvl="0"/>
            <a:r>
              <a:rPr lang="en-US" dirty="0"/>
              <a:t>University payroll activity exists in the current fiscal year for the </a:t>
            </a:r>
            <a:r>
              <a:rPr lang="en-US" dirty="0" smtClean="0"/>
              <a:t>PID</a:t>
            </a:r>
          </a:p>
          <a:p>
            <a:pPr lvl="0"/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5810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748" name="think-cell Slide" r:id="rId5" imgW="331" imgH="333" progId="TCLayout.ActiveDocument.1">
                  <p:embed/>
                </p:oleObj>
              </mc:Choice>
              <mc:Fallback>
                <p:oleObj name="think-cell Slide" r:id="rId5" imgW="331" imgH="33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kumimoji="0" lang="en-US" sz="24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unds Flow SAS Reports</a:t>
            </a: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3365" y="1931205"/>
            <a:ext cx="8550636" cy="3481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822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6703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31" name="think-cell Slide" r:id="rId5" imgW="331" imgH="333" progId="TCLayout.ActiveDocument.1">
                  <p:embed/>
                </p:oleObj>
              </mc:Choice>
              <mc:Fallback>
                <p:oleObj name="think-cell Slide" r:id="rId5" imgW="331" imgH="33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kumimoji="0" lang="en-US" sz="240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Funds Flow SAS Repor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b="0" dirty="0" smtClean="0"/>
              <a:t>Summary </a:t>
            </a:r>
            <a:endParaRPr lang="en-US" b="0" dirty="0">
              <a:solidFill>
                <a:srgbClr val="FF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FF Summary by Depar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dirty="0" smtClean="0"/>
              <a:t>Displays all Funds Flow reimbursements at a department level by month</a:t>
            </a:r>
          </a:p>
        </p:txBody>
      </p:sp>
      <p:pic>
        <p:nvPicPr>
          <p:cNvPr id="542725" name="Picture 5" descr="C:\Users\lsolana\AppData\Local\Temp\SNAGHTML2deb9293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379" y="3198570"/>
            <a:ext cx="8774885" cy="1635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2609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962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70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40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ds Flow </a:t>
            </a:r>
            <a:r>
              <a:rPr lang="en-US" dirty="0" smtClean="0"/>
              <a:t>Calculations/SAS </a:t>
            </a:r>
            <a:r>
              <a:rPr lang="en-US" dirty="0"/>
              <a:t>Reports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b="0" dirty="0" smtClean="0"/>
              <a:t>442710: MD Allocation</a:t>
            </a:r>
            <a:endParaRPr lang="en-US" b="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D Allocation Detail by Provider with </a:t>
            </a:r>
            <a:r>
              <a:rPr lang="en-US" dirty="0" err="1" smtClean="0"/>
              <a:t>Dept</a:t>
            </a:r>
            <a:r>
              <a:rPr lang="en-US" dirty="0" smtClean="0"/>
              <a:t> ID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dirty="0"/>
              <a:t>3 year rolling average of MGMA median salary/ 3 year rolling average of MGMA median </a:t>
            </a:r>
            <a:r>
              <a:rPr lang="en-US" dirty="0" err="1"/>
              <a:t>wRVUs</a:t>
            </a:r>
            <a:r>
              <a:rPr lang="en-US" dirty="0"/>
              <a:t> (or ASA Units for Anesthesiology)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dirty="0"/>
              <a:t>If the “N” value is less than 45 in the MGMA survey then the $$ per </a:t>
            </a:r>
            <a:r>
              <a:rPr lang="en-US" dirty="0" err="1"/>
              <a:t>wRVU</a:t>
            </a:r>
            <a:r>
              <a:rPr lang="en-US" dirty="0"/>
              <a:t> moves from sub-specialty to specialty 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dirty="0"/>
              <a:t>Reimbursement rate for Children’s services across all departments will be boosted 25%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dirty="0"/>
              <a:t>Denials that result in a write-off receive 50% credit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dirty="0"/>
              <a:t>Self-pay </a:t>
            </a:r>
            <a:r>
              <a:rPr lang="en-US" dirty="0" err="1"/>
              <a:t>wRVUs</a:t>
            </a:r>
            <a:r>
              <a:rPr lang="en-US" dirty="0"/>
              <a:t> that have payments that are less than 25% of the charge receive a 50% credit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dirty="0" err="1"/>
              <a:t>wRVU</a:t>
            </a:r>
            <a:r>
              <a:rPr lang="en-US" dirty="0"/>
              <a:t> data is run by post </a:t>
            </a:r>
            <a:r>
              <a:rPr lang="en-US" dirty="0" smtClean="0"/>
              <a:t>date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Surrogate </a:t>
            </a:r>
            <a:r>
              <a:rPr lang="en-US" dirty="0" err="1" smtClean="0"/>
              <a:t>wRVUs</a:t>
            </a:r>
            <a:r>
              <a:rPr lang="en-US" dirty="0" smtClean="0"/>
              <a:t> assigned for CPT codes that do not have </a:t>
            </a:r>
            <a:r>
              <a:rPr lang="en-US" dirty="0" err="1" smtClean="0"/>
              <a:t>wRVUs</a:t>
            </a:r>
            <a:r>
              <a:rPr lang="en-US" dirty="0" smtClean="0"/>
              <a:t> but involve Physician work</a:t>
            </a:r>
            <a:endParaRPr lang="en-US" dirty="0"/>
          </a:p>
          <a:p>
            <a:pPr marL="644525" lvl="1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644525" lvl="1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0" indent="0"/>
            <a:endParaRPr lang="en-US" dirty="0" smtClean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541701" name="Picture 5" descr="C:\Users\lsolana\AppData\Local\Temp\SNAGHTML2debea29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492" y="5230097"/>
            <a:ext cx="9156217" cy="1156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5799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1781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39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40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ea typeface="+mj-ea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nds Flow Calculations/SAS Report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b="0" dirty="0" smtClean="0"/>
              <a:t>442720: Non MD Allocation</a:t>
            </a:r>
            <a:endParaRPr lang="en-US" b="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on MD Allocation Detail by Provider with </a:t>
            </a:r>
            <a:r>
              <a:rPr lang="en-US" dirty="0" err="1" smtClean="0"/>
              <a:t>Dept</a:t>
            </a:r>
            <a:r>
              <a:rPr lang="en-US" dirty="0" smtClean="0"/>
              <a:t> ID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dirty="0"/>
              <a:t>Departments employ and receive associated revenue (including UPL) for APPs, including CRNAs, psychologists, and MSWs</a:t>
            </a:r>
          </a:p>
          <a:p>
            <a:pPr marL="644525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Receipts and UPL taxed at </a:t>
            </a:r>
            <a:r>
              <a:rPr lang="en-US" dirty="0"/>
              <a:t>21</a:t>
            </a:r>
            <a:r>
              <a:rPr lang="en-US" dirty="0" smtClean="0"/>
              <a:t>%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528395" name="Picture 11" descr="C:\Users\lsolana\AppData\Local\Temp\SNAGHTML2def8c17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620" y="3467405"/>
            <a:ext cx="8986770" cy="903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2110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8&quot;&gt;&lt;elem m_fUsage=&quot;5.23108867905351093697E+00&quot;&gt;&lt;m_msothmcolidx val=&quot;0&quot;/&gt;&lt;m_rgb r=&quot;1C&quot; g=&quot;54&quot; b=&quot;BB&quot;/&gt;&lt;m_nBrightness val=&quot;0&quot;/&gt;&lt;/elem&gt;&lt;elem m_fUsage=&quot;3.22438756364259893061E+00&quot;&gt;&lt;m_msothmcolidx val=&quot;0&quot;/&gt;&lt;m_rgb r=&quot;FF&quot; g=&quot;FF&quot; b=&quot;D2&quot;/&gt;&lt;m_nBrightness val=&quot;0&quot;/&gt;&lt;/elem&gt;&lt;elem m_fUsage=&quot;4.06216742121476404037E-01&quot;&gt;&lt;m_msothmcolidx val=&quot;0&quot;/&gt;&lt;m_rgb r=&quot;FF&quot; g=&quot;FA&quot; b=&quot;20&quot;/&gt;&lt;m_nBrightness val=&quot;0&quot;/&gt;&lt;/elem&gt;&lt;elem m_fUsage=&quot;3.83096800541574411536E-01&quot;&gt;&lt;m_msothmcolidx val=&quot;0&quot;/&gt;&lt;m_rgb r=&quot;F9&quot; g=&quot;FE&quot; b=&quot;92&quot;/&gt;&lt;m_nBrightness val=&quot;0&quot;/&gt;&lt;/elem&gt;&lt;elem m_fUsage=&quot;3.46231769831083724398E-01&quot;&gt;&lt;m_msothmcolidx val=&quot;0&quot;/&gt;&lt;m_rgb r=&quot;2F&quot; g=&quot;F0&quot; b=&quot;34&quot;/&gt;&lt;m_nBrightness val=&quot;0&quot;/&gt;&lt;/elem&gt;&lt;elem m_fUsage=&quot;2.93837725202766242294E-01&quot;&gt;&lt;m_msothmcolidx val=&quot;0&quot;/&gt;&lt;m_rgb r=&quot;FF&quot; g=&quot;00&quot; b=&quot;00&quot;/&gt;&lt;m_nBrightness val=&quot;0&quot;/&gt;&lt;/elem&gt;&lt;elem m_fUsage=&quot;4.71012869724624916312E-02&quot;&gt;&lt;m_msothmcolidx val=&quot;0&quot;/&gt;&lt;m_rgb r=&quot;FF&quot; g=&quot;FF&quot; b=&quot;9D&quot;/&gt;&lt;m_nBrightness val=&quot;0&quot;/&gt;&lt;/elem&gt;&lt;elem m_fUsage=&quot;1.07752636643058292976E-02&quot;&gt;&lt;m_msothmcolidx val=&quot;0&quot;/&gt;&lt;m_rgb r=&quot;58&quot; g=&quot;ED&quot; b=&quot;1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Sd_KWDSSOP4Y.oSzj_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uN2oQtTjWUTpM1OeULB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Hc_dR7TmyFrlXw2nnI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Hc_dR7TmyFrlXw2nnIX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7WeWDIQtytENlvHacEy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7WeWDIQtytENlvHacEy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7WeWDIQtytENlvHacEy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H3po46QLGXAZzlTVHb0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Lk0iXCT9q3I.d8.y4f1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hHOY4oQ1mcW6Nus_Sd8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cRk42SSf.qlnHHBMZD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7_UNC-template_HCS">
  <a:themeElements>
    <a:clrScheme name="UNC Healthcare">
      <a:dk1>
        <a:srgbClr val="000000"/>
      </a:dk1>
      <a:lt1>
        <a:srgbClr val="FFFFFF"/>
      </a:lt1>
      <a:dk2>
        <a:srgbClr val="003366"/>
      </a:dk2>
      <a:lt2>
        <a:srgbClr val="FFFFFF"/>
      </a:lt2>
      <a:accent1>
        <a:srgbClr val="364D6E"/>
      </a:accent1>
      <a:accent2>
        <a:srgbClr val="6F8DB9"/>
      </a:accent2>
      <a:accent3>
        <a:srgbClr val="9DB1CF"/>
      </a:accent3>
      <a:accent4>
        <a:srgbClr val="C3CFE1"/>
      </a:accent4>
      <a:accent5>
        <a:srgbClr val="DFE5EF"/>
      </a:accent5>
      <a:accent6>
        <a:srgbClr val="FFFF66"/>
      </a:accent6>
      <a:hlink>
        <a:srgbClr val="99CCFF"/>
      </a:hlink>
      <a:folHlink>
        <a:srgbClr val="B2B2B2"/>
      </a:folHlink>
    </a:clrScheme>
    <a:fontScheme name="UNC-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UNC-template 1">
        <a:dk1>
          <a:srgbClr val="000000"/>
        </a:dk1>
        <a:lt1>
          <a:srgbClr val="FFFFFF"/>
        </a:lt1>
        <a:dk2>
          <a:srgbClr val="B2B2B2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C-template 2">
        <a:dk1>
          <a:srgbClr val="000000"/>
        </a:dk1>
        <a:lt1>
          <a:srgbClr val="FFFFFF"/>
        </a:lt1>
        <a:dk2>
          <a:srgbClr val="99CCFF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C-template 3">
        <a:dk1>
          <a:srgbClr val="000000"/>
        </a:dk1>
        <a:lt1>
          <a:srgbClr val="FFFFFF"/>
        </a:lt1>
        <a:dk2>
          <a:srgbClr val="003366"/>
        </a:dk2>
        <a:lt2>
          <a:srgbClr val="330033"/>
        </a:lt2>
        <a:accent1>
          <a:srgbClr val="CCCC99"/>
        </a:accent1>
        <a:accent2>
          <a:srgbClr val="FFFF66"/>
        </a:accent2>
        <a:accent3>
          <a:srgbClr val="FFFFFF"/>
        </a:accent3>
        <a:accent4>
          <a:srgbClr val="000000"/>
        </a:accent4>
        <a:accent5>
          <a:srgbClr val="E2E2CA"/>
        </a:accent5>
        <a:accent6>
          <a:srgbClr val="E7E75C"/>
        </a:accent6>
        <a:hlink>
          <a:srgbClr val="99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UNC-template</Template>
  <TotalTime>0</TotalTime>
  <Words>664</Words>
  <Application>Microsoft Office PowerPoint</Application>
  <PresentationFormat>Custom</PresentationFormat>
  <Paragraphs>180</Paragraphs>
  <Slides>1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Arial</vt:lpstr>
      <vt:lpstr>Calibri</vt:lpstr>
      <vt:lpstr>Times New Roman</vt:lpstr>
      <vt:lpstr>7_UNC-template_HCS</vt:lpstr>
      <vt:lpstr>think-cell Slide</vt:lpstr>
      <vt:lpstr>Funds Flow Session </vt:lpstr>
      <vt:lpstr>Agenda</vt:lpstr>
      <vt:lpstr>PowerPoint Presentation</vt:lpstr>
      <vt:lpstr>Funds Flow Accounts</vt:lpstr>
      <vt:lpstr>Funds Flow Qualifications</vt:lpstr>
      <vt:lpstr>Funds Flow SAS Reports</vt:lpstr>
      <vt:lpstr>Funds Flow SAS Reports Summary </vt:lpstr>
      <vt:lpstr>Funds Flow Calculations/SAS Reports  442710: MD Allocation</vt:lpstr>
      <vt:lpstr>Funds Flow Calculations/SAS Reports 442720: Non MD Allocation</vt:lpstr>
      <vt:lpstr>Funds Flow Calculations/SAS Reports 442730: Benefits Allocation &amp; 442740: Overhead Allocation</vt:lpstr>
      <vt:lpstr>Funds Flow Calculations Department Level Allocations</vt:lpstr>
      <vt:lpstr>441640 – GME</vt:lpstr>
      <vt:lpstr>PowerPoint Presentation</vt:lpstr>
      <vt:lpstr>Funds Flow Resources</vt:lpstr>
      <vt:lpstr>Funds Flow Websi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Title, 24 pt, bold, Sentence Case Sub-Title, 18pt, bold, Sentence Case</dc:title>
  <dc:creator/>
  <dc:description>Letter Blank templ v3.pot</dc:description>
  <cp:lastModifiedBy/>
  <cp:revision>26</cp:revision>
  <dcterms:created xsi:type="dcterms:W3CDTF">2007-11-07T15:12:03Z</dcterms:created>
  <dcterms:modified xsi:type="dcterms:W3CDTF">2019-06-11T16:25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041127</vt:lpwstr>
  </property>
  <property fmtid="{D5CDD505-2E9C-101B-9397-08002B2CF9AE}" pid="3" name="Reference">
    <vt:lpwstr>BCGTemplateNew</vt:lpwstr>
  </property>
  <property fmtid="{D5CDD505-2E9C-101B-9397-08002B2CF9AE}" pid="4" name="BCG 2007 Template">
    <vt:bool>true</vt:bool>
  </property>
  <property fmtid="{D5CDD505-2E9C-101B-9397-08002B2CF9AE}" pid="5" name="BCG Format Name">
    <vt:lpwstr>BCG Format</vt:lpwstr>
  </property>
</Properties>
</file>